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7"/>
  </p:notesMasterIdLst>
  <p:handoutMasterIdLst>
    <p:handoutMasterId r:id="rId8"/>
  </p:handoutMasterIdLst>
  <p:sldIdLst>
    <p:sldId id="350" r:id="rId5"/>
    <p:sldId id="352" r:id="rId6"/>
  </p:sldIdLst>
  <p:sldSz cx="12192000" cy="6858000"/>
  <p:notesSz cx="6858000" cy="9144000"/>
  <p:embeddedFontLst>
    <p:embeddedFont>
      <p:font typeface="Arial Black" panose="020B0604020202020204" pitchFamily="34" charset="0"/>
      <p:bold r:id="rId9"/>
    </p:embeddedFont>
  </p:embeddedFontLst>
  <p:custDataLst>
    <p:tags r:id="rId1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59" userDrawn="1">
          <p15:clr>
            <a:srgbClr val="A4A3A4"/>
          </p15:clr>
        </p15:guide>
        <p15:guide id="2" orient="horz" pos="245" userDrawn="1">
          <p15:clr>
            <a:srgbClr val="A4A3A4"/>
          </p15:clr>
        </p15:guide>
        <p15:guide id="3" orient="horz" pos="665" userDrawn="1">
          <p15:clr>
            <a:srgbClr val="A4A3A4"/>
          </p15:clr>
        </p15:guide>
        <p15:guide id="4" orient="horz" pos="732" userDrawn="1">
          <p15:clr>
            <a:srgbClr val="A4A3A4"/>
          </p15:clr>
        </p15:guide>
        <p15:guide id="5" orient="horz" pos="4223" userDrawn="1">
          <p15:clr>
            <a:srgbClr val="A4A3A4"/>
          </p15:clr>
        </p15:guide>
        <p15:guide id="6" orient="horz" pos="4142" userDrawn="1">
          <p15:clr>
            <a:srgbClr val="A4A3A4"/>
          </p15:clr>
        </p15:guide>
        <p15:guide id="7" orient="horz" pos="4090" userDrawn="1">
          <p15:clr>
            <a:srgbClr val="A4A3A4"/>
          </p15:clr>
        </p15:guide>
        <p15:guide id="8" orient="horz" pos="811" userDrawn="1">
          <p15:clr>
            <a:srgbClr val="A4A3A4"/>
          </p15:clr>
        </p15:guide>
        <p15:guide id="9" orient="horz" pos="2451" userDrawn="1">
          <p15:clr>
            <a:srgbClr val="A4A3A4"/>
          </p15:clr>
        </p15:guide>
        <p15:guide id="10" pos="383" userDrawn="1">
          <p15:clr>
            <a:srgbClr val="A4A3A4"/>
          </p15:clr>
        </p15:guide>
        <p15:guide id="11" pos="7297" userDrawn="1">
          <p15:clr>
            <a:srgbClr val="A4A3A4"/>
          </p15:clr>
        </p15:guide>
        <p15:guide id="12" pos="3793" userDrawn="1">
          <p15:clr>
            <a:srgbClr val="A4A3A4"/>
          </p15:clr>
        </p15:guide>
        <p15:guide id="13" pos="3887" userDrawn="1">
          <p15:clr>
            <a:srgbClr val="A4A3A4"/>
          </p15:clr>
        </p15:guide>
        <p15:guide id="14" pos="3841" userDrawn="1">
          <p15:clr>
            <a:srgbClr val="A4A3A4"/>
          </p15:clr>
        </p15:guide>
        <p15:guide id="15" pos="7339" userDrawn="1">
          <p15:clr>
            <a:srgbClr val="A4A3A4"/>
          </p15:clr>
        </p15:guide>
        <p15:guide id="16" pos="2627" userDrawn="1">
          <p15:clr>
            <a:srgbClr val="A4A3A4"/>
          </p15:clr>
        </p15:guide>
        <p15:guide id="17" pos="5053" userDrawn="1">
          <p15:clr>
            <a:srgbClr val="A4A3A4"/>
          </p15:clr>
        </p15:guide>
        <p15:guide id="18" pos="4961" userDrawn="1">
          <p15:clr>
            <a:srgbClr val="A4A3A4"/>
          </p15:clr>
        </p15:guide>
        <p15:guide id="19" pos="2716" userDrawn="1">
          <p15:clr>
            <a:srgbClr val="A4A3A4"/>
          </p15:clr>
        </p15:guide>
        <p15:guide id="20" pos="3751" userDrawn="1">
          <p15:clr>
            <a:srgbClr val="A4A3A4"/>
          </p15:clr>
        </p15:guide>
        <p15:guide id="21" pos="3931" userDrawn="1">
          <p15:clr>
            <a:srgbClr val="A4A3A4"/>
          </p15:clr>
        </p15:guide>
        <p15:guide id="22" pos="2748" userDrawn="1">
          <p15:clr>
            <a:srgbClr val="A4A3A4"/>
          </p15:clr>
        </p15:guide>
        <p15:guide id="23" pos="4932" userDrawn="1">
          <p15:clr>
            <a:srgbClr val="A4A3A4"/>
          </p15:clr>
        </p15:guide>
        <p15:guide id="24" pos="2567" userDrawn="1">
          <p15:clr>
            <a:srgbClr val="A4A3A4"/>
          </p15:clr>
        </p15:guide>
        <p15:guide id="25" pos="511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LO" initials="DLO " lastIdx="2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E6F5FA"/>
    <a:srgbClr val="CF0072"/>
    <a:srgbClr val="CBCCCC"/>
    <a:srgbClr val="00BBEE"/>
    <a:srgbClr val="359B4C"/>
    <a:srgbClr val="3366FF"/>
    <a:srgbClr val="3333FF"/>
    <a:srgbClr val="009FDA"/>
    <a:srgbClr val="5375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28D357-6E96-7F47-BB48-A4964671C9FB}" v="26" dt="2023-04-26T15:35:29.496"/>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80199" autoAdjust="0"/>
  </p:normalViewPr>
  <p:slideViewPr>
    <p:cSldViewPr snapToGrid="0" snapToObjects="1" showGuides="1">
      <p:cViewPr varScale="1">
        <p:scale>
          <a:sx n="88" d="100"/>
          <a:sy n="88" d="100"/>
        </p:scale>
        <p:origin x="200" y="208"/>
      </p:cViewPr>
      <p:guideLst>
        <p:guide orient="horz" pos="2159"/>
        <p:guide orient="horz" pos="245"/>
        <p:guide orient="horz" pos="665"/>
        <p:guide orient="horz" pos="732"/>
        <p:guide orient="horz" pos="4223"/>
        <p:guide orient="horz" pos="4142"/>
        <p:guide orient="horz" pos="4090"/>
        <p:guide orient="horz" pos="811"/>
        <p:guide orient="horz" pos="2451"/>
        <p:guide pos="383"/>
        <p:guide pos="7297"/>
        <p:guide pos="3793"/>
        <p:guide pos="3887"/>
        <p:guide pos="3841"/>
        <p:guide pos="7339"/>
        <p:guide pos="2627"/>
        <p:guide pos="5053"/>
        <p:guide pos="4961"/>
        <p:guide pos="2716"/>
        <p:guide pos="3751"/>
        <p:guide pos="3931"/>
        <p:guide pos="2748"/>
        <p:guide pos="4932"/>
        <p:guide pos="2567"/>
        <p:guide pos="51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rutha Vani, Bhumi Reddy" userId="9423dc9d-f662-4ddd-ae75-f4f2bf5e0afd" providerId="ADAL" clId="{C4A1FE94-EF7C-4214-AB76-96E4F35CAD5C}"/>
    <pc:docChg chg="custSel modSld">
      <pc:chgData name="Amrutha Vani, Bhumi Reddy" userId="9423dc9d-f662-4ddd-ae75-f4f2bf5e0afd" providerId="ADAL" clId="{C4A1FE94-EF7C-4214-AB76-96E4F35CAD5C}" dt="2023-04-21T06:09:24.728" v="199" actId="14100"/>
      <pc:docMkLst>
        <pc:docMk/>
      </pc:docMkLst>
      <pc:sldChg chg="addSp delSp modSp mod">
        <pc:chgData name="Amrutha Vani, Bhumi Reddy" userId="9423dc9d-f662-4ddd-ae75-f4f2bf5e0afd" providerId="ADAL" clId="{C4A1FE94-EF7C-4214-AB76-96E4F35CAD5C}" dt="2023-04-21T06:09:24.728" v="199" actId="14100"/>
        <pc:sldMkLst>
          <pc:docMk/>
          <pc:sldMk cId="3262516184" sldId="349"/>
        </pc:sldMkLst>
        <pc:spChg chg="del">
          <ac:chgData name="Amrutha Vani, Bhumi Reddy" userId="9423dc9d-f662-4ddd-ae75-f4f2bf5e0afd" providerId="ADAL" clId="{C4A1FE94-EF7C-4214-AB76-96E4F35CAD5C}" dt="2023-04-21T06:06:27.963" v="100" actId="478"/>
          <ac:spMkLst>
            <pc:docMk/>
            <pc:sldMk cId="3262516184" sldId="349"/>
            <ac:spMk id="4" creationId="{F07FCB7D-8A32-2999-1544-D55951BE7C11}"/>
          </ac:spMkLst>
        </pc:spChg>
        <pc:spChg chg="add mod">
          <ac:chgData name="Amrutha Vani, Bhumi Reddy" userId="9423dc9d-f662-4ddd-ae75-f4f2bf5e0afd" providerId="ADAL" clId="{C4A1FE94-EF7C-4214-AB76-96E4F35CAD5C}" dt="2023-04-21T06:07:24.483" v="160" actId="1076"/>
          <ac:spMkLst>
            <pc:docMk/>
            <pc:sldMk cId="3262516184" sldId="349"/>
            <ac:spMk id="6" creationId="{6499EDE2-5623-8CE4-8A2B-A5CC7BCF04D6}"/>
          </ac:spMkLst>
        </pc:spChg>
        <pc:spChg chg="add mod">
          <ac:chgData name="Amrutha Vani, Bhumi Reddy" userId="9423dc9d-f662-4ddd-ae75-f4f2bf5e0afd" providerId="ADAL" clId="{C4A1FE94-EF7C-4214-AB76-96E4F35CAD5C}" dt="2023-04-21T06:08:44.937" v="191" actId="1076"/>
          <ac:spMkLst>
            <pc:docMk/>
            <pc:sldMk cId="3262516184" sldId="349"/>
            <ac:spMk id="7" creationId="{774C4F2B-CA00-F3BC-A597-D144D45D41AC}"/>
          </ac:spMkLst>
        </pc:spChg>
        <pc:spChg chg="add del mod">
          <ac:chgData name="Amrutha Vani, Bhumi Reddy" userId="9423dc9d-f662-4ddd-ae75-f4f2bf5e0afd" providerId="ADAL" clId="{C4A1FE94-EF7C-4214-AB76-96E4F35CAD5C}" dt="2023-04-21T06:05:59.356" v="57"/>
          <ac:spMkLst>
            <pc:docMk/>
            <pc:sldMk cId="3262516184" sldId="349"/>
            <ac:spMk id="8" creationId="{5D9FC3E5-F654-B982-DD3C-D13F607E3868}"/>
          </ac:spMkLst>
        </pc:spChg>
        <pc:spChg chg="add mod">
          <ac:chgData name="Amrutha Vani, Bhumi Reddy" userId="9423dc9d-f662-4ddd-ae75-f4f2bf5e0afd" providerId="ADAL" clId="{C4A1FE94-EF7C-4214-AB76-96E4F35CAD5C}" dt="2023-04-21T06:08:01.821" v="165" actId="1076"/>
          <ac:spMkLst>
            <pc:docMk/>
            <pc:sldMk cId="3262516184" sldId="349"/>
            <ac:spMk id="9" creationId="{64FFB3D5-F8DA-DAFA-0936-80E91DECE925}"/>
          </ac:spMkLst>
        </pc:spChg>
        <pc:spChg chg="add del mod">
          <ac:chgData name="Amrutha Vani, Bhumi Reddy" userId="9423dc9d-f662-4ddd-ae75-f4f2bf5e0afd" providerId="ADAL" clId="{C4A1FE94-EF7C-4214-AB76-96E4F35CAD5C}" dt="2023-04-21T06:06:27.967" v="102"/>
          <ac:spMkLst>
            <pc:docMk/>
            <pc:sldMk cId="3262516184" sldId="349"/>
            <ac:spMk id="10" creationId="{1447D958-1709-E375-849A-0132E895BA30}"/>
          </ac:spMkLst>
        </pc:spChg>
        <pc:spChg chg="add mod">
          <ac:chgData name="Amrutha Vani, Bhumi Reddy" userId="9423dc9d-f662-4ddd-ae75-f4f2bf5e0afd" providerId="ADAL" clId="{C4A1FE94-EF7C-4214-AB76-96E4F35CAD5C}" dt="2023-04-21T06:08:06.533" v="166" actId="1076"/>
          <ac:spMkLst>
            <pc:docMk/>
            <pc:sldMk cId="3262516184" sldId="349"/>
            <ac:spMk id="11" creationId="{3338A8C8-5CDD-7000-6851-CD1125E1AA15}"/>
          </ac:spMkLst>
        </pc:spChg>
        <pc:spChg chg="add mod">
          <ac:chgData name="Amrutha Vani, Bhumi Reddy" userId="9423dc9d-f662-4ddd-ae75-f4f2bf5e0afd" providerId="ADAL" clId="{C4A1FE94-EF7C-4214-AB76-96E4F35CAD5C}" dt="2023-04-21T06:08:11.068" v="167" actId="1076"/>
          <ac:spMkLst>
            <pc:docMk/>
            <pc:sldMk cId="3262516184" sldId="349"/>
            <ac:spMk id="12" creationId="{E877136D-5D51-8F71-6804-98E3560CD8D0}"/>
          </ac:spMkLst>
        </pc:spChg>
        <pc:spChg chg="add mod">
          <ac:chgData name="Amrutha Vani, Bhumi Reddy" userId="9423dc9d-f662-4ddd-ae75-f4f2bf5e0afd" providerId="ADAL" clId="{C4A1FE94-EF7C-4214-AB76-96E4F35CAD5C}" dt="2023-04-21T06:08:37.976" v="190" actId="1076"/>
          <ac:spMkLst>
            <pc:docMk/>
            <pc:sldMk cId="3262516184" sldId="349"/>
            <ac:spMk id="13" creationId="{662476DC-2C11-E579-E0E7-9173EE67A6CA}"/>
          </ac:spMkLst>
        </pc:spChg>
        <pc:cxnChg chg="add mod">
          <ac:chgData name="Amrutha Vani, Bhumi Reddy" userId="9423dc9d-f662-4ddd-ae75-f4f2bf5e0afd" providerId="ADAL" clId="{C4A1FE94-EF7C-4214-AB76-96E4F35CAD5C}" dt="2023-04-21T06:09:24.728" v="199" actId="14100"/>
          <ac:cxnSpMkLst>
            <pc:docMk/>
            <pc:sldMk cId="3262516184" sldId="349"/>
            <ac:cxnSpMk id="15" creationId="{67EFA9D0-A9B0-7F07-9103-1AAA7FDCB2C5}"/>
          </ac:cxnSpMkLst>
        </pc:cxnChg>
      </pc:sldChg>
    </pc:docChg>
  </pc:docChgLst>
  <pc:docChgLst>
    <pc:chgData name="Khattar, Rohit" userId="17058f18-8f6e-4409-b6d6-2e569cd93053" providerId="ADAL" clId="{4428D357-6E96-7F47-BB48-A4964671C9FB}"/>
    <pc:docChg chg="undo custSel addSld delSld modSld">
      <pc:chgData name="Khattar, Rohit" userId="17058f18-8f6e-4409-b6d6-2e569cd93053" providerId="ADAL" clId="{4428D357-6E96-7F47-BB48-A4964671C9FB}" dt="2023-04-26T15:35:29.496" v="1575" actId="1076"/>
      <pc:docMkLst>
        <pc:docMk/>
      </pc:docMkLst>
      <pc:sldChg chg="modSp del mod">
        <pc:chgData name="Khattar, Rohit" userId="17058f18-8f6e-4409-b6d6-2e569cd93053" providerId="ADAL" clId="{4428D357-6E96-7F47-BB48-A4964671C9FB}" dt="2023-04-26T13:49:04.674" v="1354" actId="2696"/>
        <pc:sldMkLst>
          <pc:docMk/>
          <pc:sldMk cId="2051525536" sldId="348"/>
        </pc:sldMkLst>
        <pc:graphicFrameChg chg="mod modGraphic">
          <ac:chgData name="Khattar, Rohit" userId="17058f18-8f6e-4409-b6d6-2e569cd93053" providerId="ADAL" clId="{4428D357-6E96-7F47-BB48-A4964671C9FB}" dt="2023-04-26T07:32:39.935" v="57" actId="404"/>
          <ac:graphicFrameMkLst>
            <pc:docMk/>
            <pc:sldMk cId="2051525536" sldId="348"/>
            <ac:graphicFrameMk id="20" creationId="{00000000-0000-0000-0000-000000000000}"/>
          </ac:graphicFrameMkLst>
        </pc:graphicFrameChg>
      </pc:sldChg>
      <pc:sldChg chg="del">
        <pc:chgData name="Khattar, Rohit" userId="17058f18-8f6e-4409-b6d6-2e569cd93053" providerId="ADAL" clId="{4428D357-6E96-7F47-BB48-A4964671C9FB}" dt="2023-04-26T13:37:54.852" v="1342" actId="2696"/>
        <pc:sldMkLst>
          <pc:docMk/>
          <pc:sldMk cId="3262516184" sldId="349"/>
        </pc:sldMkLst>
      </pc:sldChg>
      <pc:sldChg chg="addSp delSp modSp add mod">
        <pc:chgData name="Khattar, Rohit" userId="17058f18-8f6e-4409-b6d6-2e569cd93053" providerId="ADAL" clId="{4428D357-6E96-7F47-BB48-A4964671C9FB}" dt="2023-04-26T15:35:29.496" v="1575" actId="1076"/>
        <pc:sldMkLst>
          <pc:docMk/>
          <pc:sldMk cId="36914003" sldId="350"/>
        </pc:sldMkLst>
        <pc:spChg chg="add mod">
          <ac:chgData name="Khattar, Rohit" userId="17058f18-8f6e-4409-b6d6-2e569cd93053" providerId="ADAL" clId="{4428D357-6E96-7F47-BB48-A4964671C9FB}" dt="2023-04-26T15:33:32.573" v="1572" actId="20577"/>
          <ac:spMkLst>
            <pc:docMk/>
            <pc:sldMk cId="36914003" sldId="350"/>
            <ac:spMk id="5" creationId="{4640B3D4-6113-E599-B978-3E5A3FF4D36C}"/>
          </ac:spMkLst>
        </pc:spChg>
        <pc:spChg chg="mod">
          <ac:chgData name="Khattar, Rohit" userId="17058f18-8f6e-4409-b6d6-2e569cd93053" providerId="ADAL" clId="{4428D357-6E96-7F47-BB48-A4964671C9FB}" dt="2023-04-26T13:24:13.239" v="808" actId="20577"/>
          <ac:spMkLst>
            <pc:docMk/>
            <pc:sldMk cId="36914003" sldId="350"/>
            <ac:spMk id="6" creationId="{00000000-0000-0000-0000-000000000000}"/>
          </ac:spMkLst>
        </pc:spChg>
        <pc:spChg chg="mod">
          <ac:chgData name="Khattar, Rohit" userId="17058f18-8f6e-4409-b6d6-2e569cd93053" providerId="ADAL" clId="{4428D357-6E96-7F47-BB48-A4964671C9FB}" dt="2023-04-26T08:38:53.065" v="68" actId="5793"/>
          <ac:spMkLst>
            <pc:docMk/>
            <pc:sldMk cId="36914003" sldId="350"/>
            <ac:spMk id="8" creationId="{00000000-0000-0000-0000-000000000000}"/>
          </ac:spMkLst>
        </pc:spChg>
        <pc:spChg chg="mod">
          <ac:chgData name="Khattar, Rohit" userId="17058f18-8f6e-4409-b6d6-2e569cd93053" providerId="ADAL" clId="{4428D357-6E96-7F47-BB48-A4964671C9FB}" dt="2023-04-26T15:16:41.156" v="1368" actId="20577"/>
          <ac:spMkLst>
            <pc:docMk/>
            <pc:sldMk cId="36914003" sldId="350"/>
            <ac:spMk id="9" creationId="{00000000-0000-0000-0000-000000000000}"/>
          </ac:spMkLst>
        </pc:spChg>
        <pc:spChg chg="mod">
          <ac:chgData name="Khattar, Rohit" userId="17058f18-8f6e-4409-b6d6-2e569cd93053" providerId="ADAL" clId="{4428D357-6E96-7F47-BB48-A4964671C9FB}" dt="2023-04-26T13:28:26.447" v="1202" actId="20577"/>
          <ac:spMkLst>
            <pc:docMk/>
            <pc:sldMk cId="36914003" sldId="350"/>
            <ac:spMk id="13" creationId="{00000000-0000-0000-0000-000000000000}"/>
          </ac:spMkLst>
        </pc:spChg>
        <pc:spChg chg="mod">
          <ac:chgData name="Khattar, Rohit" userId="17058f18-8f6e-4409-b6d6-2e569cd93053" providerId="ADAL" clId="{4428D357-6E96-7F47-BB48-A4964671C9FB}" dt="2023-04-26T13:25:20.941" v="867" actId="20577"/>
          <ac:spMkLst>
            <pc:docMk/>
            <pc:sldMk cId="36914003" sldId="350"/>
            <ac:spMk id="15" creationId="{00000000-0000-0000-0000-000000000000}"/>
          </ac:spMkLst>
        </pc:spChg>
        <pc:picChg chg="add del mod modCrop">
          <ac:chgData name="Khattar, Rohit" userId="17058f18-8f6e-4409-b6d6-2e569cd93053" providerId="ADAL" clId="{4428D357-6E96-7F47-BB48-A4964671C9FB}" dt="2023-04-26T15:30:33.427" v="1371" actId="478"/>
          <ac:picMkLst>
            <pc:docMk/>
            <pc:sldMk cId="36914003" sldId="350"/>
            <ac:picMk id="4" creationId="{63AE41F2-0EA1-D702-8E5A-494754E36014}"/>
          </ac:picMkLst>
        </pc:picChg>
        <pc:picChg chg="add mod">
          <ac:chgData name="Khattar, Rohit" userId="17058f18-8f6e-4409-b6d6-2e569cd93053" providerId="ADAL" clId="{4428D357-6E96-7F47-BB48-A4964671C9FB}" dt="2023-04-26T15:35:29.496" v="1575" actId="1076"/>
          <ac:picMkLst>
            <pc:docMk/>
            <pc:sldMk cId="36914003" sldId="350"/>
            <ac:picMk id="1026" creationId="{947AD938-242A-DC22-BA37-FB704EEA5AD6}"/>
          </ac:picMkLst>
        </pc:picChg>
      </pc:sldChg>
      <pc:sldChg chg="delSp add del mod">
        <pc:chgData name="Khattar, Rohit" userId="17058f18-8f6e-4409-b6d6-2e569cd93053" providerId="ADAL" clId="{4428D357-6E96-7F47-BB48-A4964671C9FB}" dt="2023-04-26T13:36:36.479" v="1305" actId="2696"/>
        <pc:sldMkLst>
          <pc:docMk/>
          <pc:sldMk cId="326346555" sldId="351"/>
        </pc:sldMkLst>
        <pc:picChg chg="del">
          <ac:chgData name="Khattar, Rohit" userId="17058f18-8f6e-4409-b6d6-2e569cd93053" providerId="ADAL" clId="{4428D357-6E96-7F47-BB48-A4964671C9FB}" dt="2023-04-26T13:32:07.482" v="1205" actId="478"/>
          <ac:picMkLst>
            <pc:docMk/>
            <pc:sldMk cId="326346555" sldId="351"/>
            <ac:picMk id="8" creationId="{D67C25F7-4A24-A0AC-2B94-1F8B14501263}"/>
          </ac:picMkLst>
        </pc:picChg>
        <pc:picChg chg="del">
          <ac:chgData name="Khattar, Rohit" userId="17058f18-8f6e-4409-b6d6-2e569cd93053" providerId="ADAL" clId="{4428D357-6E96-7F47-BB48-A4964671C9FB}" dt="2023-04-26T13:32:06.841" v="1204" actId="478"/>
          <ac:picMkLst>
            <pc:docMk/>
            <pc:sldMk cId="326346555" sldId="351"/>
            <ac:picMk id="14" creationId="{62E2714D-7F00-5853-FA9B-5849BA52E075}"/>
          </ac:picMkLst>
        </pc:picChg>
        <pc:picChg chg="del">
          <ac:chgData name="Khattar, Rohit" userId="17058f18-8f6e-4409-b6d6-2e569cd93053" providerId="ADAL" clId="{4428D357-6E96-7F47-BB48-A4964671C9FB}" dt="2023-04-26T13:32:09.454" v="1207" actId="478"/>
          <ac:picMkLst>
            <pc:docMk/>
            <pc:sldMk cId="326346555" sldId="351"/>
            <ac:picMk id="16" creationId="{E50C6F5C-B12E-152F-38C4-9859EC12A801}"/>
          </ac:picMkLst>
        </pc:picChg>
        <pc:picChg chg="del">
          <ac:chgData name="Khattar, Rohit" userId="17058f18-8f6e-4409-b6d6-2e569cd93053" providerId="ADAL" clId="{4428D357-6E96-7F47-BB48-A4964671C9FB}" dt="2023-04-26T13:32:08.962" v="1206" actId="478"/>
          <ac:picMkLst>
            <pc:docMk/>
            <pc:sldMk cId="326346555" sldId="351"/>
            <ac:picMk id="17" creationId="{5CD8D004-1766-140E-D978-29AE2E030E3C}"/>
          </ac:picMkLst>
        </pc:picChg>
        <pc:picChg chg="del">
          <ac:chgData name="Khattar, Rohit" userId="17058f18-8f6e-4409-b6d6-2e569cd93053" providerId="ADAL" clId="{4428D357-6E96-7F47-BB48-A4964671C9FB}" dt="2023-04-26T13:32:10.282" v="1208" actId="478"/>
          <ac:picMkLst>
            <pc:docMk/>
            <pc:sldMk cId="326346555" sldId="351"/>
            <ac:picMk id="19" creationId="{B902A4D7-4D7F-597C-36AA-7411A75FA5F8}"/>
          </ac:picMkLst>
        </pc:picChg>
      </pc:sldChg>
      <pc:sldChg chg="modSp add mod">
        <pc:chgData name="Khattar, Rohit" userId="17058f18-8f6e-4409-b6d6-2e569cd93053" providerId="ADAL" clId="{4428D357-6E96-7F47-BB48-A4964671C9FB}" dt="2023-04-26T13:37:39.496" v="1341" actId="113"/>
        <pc:sldMkLst>
          <pc:docMk/>
          <pc:sldMk cId="2864126323" sldId="352"/>
        </pc:sldMkLst>
        <pc:spChg chg="mod">
          <ac:chgData name="Khattar, Rohit" userId="17058f18-8f6e-4409-b6d6-2e569cd93053" providerId="ADAL" clId="{4428D357-6E96-7F47-BB48-A4964671C9FB}" dt="2023-04-26T13:37:39.496" v="1341" actId="113"/>
          <ac:spMkLst>
            <pc:docMk/>
            <pc:sldMk cId="2864126323" sldId="352"/>
            <ac:spMk id="4" creationId="{F07FCB7D-8A32-2999-1544-D55951BE7C11}"/>
          </ac:spMkLst>
        </pc:spChg>
      </pc:sldChg>
    </pc:docChg>
  </pc:docChgLst>
  <pc:docChgLst>
    <pc:chgData name="Amrutha Vani, Bhumi Reddy" userId="S::bhumi.r.amrutha.vani@accenture.com::9423dc9d-f662-4ddd-ae75-f4f2bf5e0afd" providerId="AD" clId="Web-{E80E149F-64E5-4E82-8D7A-6D6B78AA6088}"/>
    <pc:docChg chg="modSld">
      <pc:chgData name="Amrutha Vani, Bhumi Reddy" userId="S::bhumi.r.amrutha.vani@accenture.com::9423dc9d-f662-4ddd-ae75-f4f2bf5e0afd" providerId="AD" clId="Web-{E80E149F-64E5-4E82-8D7A-6D6B78AA6088}" dt="2023-04-21T06:12:05.201" v="0" actId="14100"/>
      <pc:docMkLst>
        <pc:docMk/>
      </pc:docMkLst>
      <pc:sldChg chg="modSp">
        <pc:chgData name="Amrutha Vani, Bhumi Reddy" userId="S::bhumi.r.amrutha.vani@accenture.com::9423dc9d-f662-4ddd-ae75-f4f2bf5e0afd" providerId="AD" clId="Web-{E80E149F-64E5-4E82-8D7A-6D6B78AA6088}" dt="2023-04-21T06:12:05.201" v="0" actId="14100"/>
        <pc:sldMkLst>
          <pc:docMk/>
          <pc:sldMk cId="3262516184" sldId="349"/>
        </pc:sldMkLst>
        <pc:cxnChg chg="mod">
          <ac:chgData name="Amrutha Vani, Bhumi Reddy" userId="S::bhumi.r.amrutha.vani@accenture.com::9423dc9d-f662-4ddd-ae75-f4f2bf5e0afd" providerId="AD" clId="Web-{E80E149F-64E5-4E82-8D7A-6D6B78AA6088}" dt="2023-04-21T06:12:05.201" v="0" actId="14100"/>
          <ac:cxnSpMkLst>
            <pc:docMk/>
            <pc:sldMk cId="3262516184" sldId="349"/>
            <ac:cxnSpMk id="15" creationId="{67EFA9D0-A9B0-7F07-9103-1AAA7FDCB2C5}"/>
          </ac:cxnSpMkLst>
        </pc:cxnChg>
      </pc:sldChg>
    </pc:docChg>
  </pc:docChgLst>
  <pc:docChgLst>
    <pc:chgData name="Gupta, Shilpa G." userId="e883dc3f-d1c2-4955-ab59-e7c8302cf7b6" providerId="ADAL" clId="{4C1C38E7-3C41-4D56-BA8A-F9E35BC9CBC0}"/>
    <pc:docChg chg="undo redo custSel modSld">
      <pc:chgData name="Gupta, Shilpa G." userId="e883dc3f-d1c2-4955-ab59-e7c8302cf7b6" providerId="ADAL" clId="{4C1C38E7-3C41-4D56-BA8A-F9E35BC9CBC0}" dt="2023-04-24T14:55:54.111" v="73" actId="1076"/>
      <pc:docMkLst>
        <pc:docMk/>
      </pc:docMkLst>
      <pc:sldChg chg="addSp modSp mod">
        <pc:chgData name="Gupta, Shilpa G." userId="e883dc3f-d1c2-4955-ab59-e7c8302cf7b6" providerId="ADAL" clId="{4C1C38E7-3C41-4D56-BA8A-F9E35BC9CBC0}" dt="2023-04-24T14:55:54.111" v="73" actId="1076"/>
        <pc:sldMkLst>
          <pc:docMk/>
          <pc:sldMk cId="3262516184" sldId="349"/>
        </pc:sldMkLst>
        <pc:spChg chg="mod">
          <ac:chgData name="Gupta, Shilpa G." userId="e883dc3f-d1c2-4955-ab59-e7c8302cf7b6" providerId="ADAL" clId="{4C1C38E7-3C41-4D56-BA8A-F9E35BC9CBC0}" dt="2023-04-24T14:55:54.111" v="73" actId="1076"/>
          <ac:spMkLst>
            <pc:docMk/>
            <pc:sldMk cId="3262516184" sldId="349"/>
            <ac:spMk id="5" creationId="{503E9FD9-DB73-FF77-887B-5B5E4BF676A6}"/>
          </ac:spMkLst>
        </pc:spChg>
        <pc:spChg chg="mod">
          <ac:chgData name="Gupta, Shilpa G." userId="e883dc3f-d1c2-4955-ab59-e7c8302cf7b6" providerId="ADAL" clId="{4C1C38E7-3C41-4D56-BA8A-F9E35BC9CBC0}" dt="2023-04-24T14:51:39.112" v="32" actId="1076"/>
          <ac:spMkLst>
            <pc:docMk/>
            <pc:sldMk cId="3262516184" sldId="349"/>
            <ac:spMk id="6" creationId="{6499EDE2-5623-8CE4-8A2B-A5CC7BCF04D6}"/>
          </ac:spMkLst>
        </pc:spChg>
        <pc:spChg chg="mod">
          <ac:chgData name="Gupta, Shilpa G." userId="e883dc3f-d1c2-4955-ab59-e7c8302cf7b6" providerId="ADAL" clId="{4C1C38E7-3C41-4D56-BA8A-F9E35BC9CBC0}" dt="2023-04-24T14:51:42.817" v="33" actId="1076"/>
          <ac:spMkLst>
            <pc:docMk/>
            <pc:sldMk cId="3262516184" sldId="349"/>
            <ac:spMk id="7" creationId="{774C4F2B-CA00-F3BC-A597-D144D45D41AC}"/>
          </ac:spMkLst>
        </pc:spChg>
        <pc:spChg chg="mod">
          <ac:chgData name="Gupta, Shilpa G." userId="e883dc3f-d1c2-4955-ab59-e7c8302cf7b6" providerId="ADAL" clId="{4C1C38E7-3C41-4D56-BA8A-F9E35BC9CBC0}" dt="2023-04-24T14:52:43.446" v="42" actId="1076"/>
          <ac:spMkLst>
            <pc:docMk/>
            <pc:sldMk cId="3262516184" sldId="349"/>
            <ac:spMk id="9" creationId="{64FFB3D5-F8DA-DAFA-0936-80E91DECE925}"/>
          </ac:spMkLst>
        </pc:spChg>
        <pc:spChg chg="mod">
          <ac:chgData name="Gupta, Shilpa G." userId="e883dc3f-d1c2-4955-ab59-e7c8302cf7b6" providerId="ADAL" clId="{4C1C38E7-3C41-4D56-BA8A-F9E35BC9CBC0}" dt="2023-04-24T14:53:00.774" v="46" actId="1076"/>
          <ac:spMkLst>
            <pc:docMk/>
            <pc:sldMk cId="3262516184" sldId="349"/>
            <ac:spMk id="11" creationId="{3338A8C8-5CDD-7000-6851-CD1125E1AA15}"/>
          </ac:spMkLst>
        </pc:spChg>
        <pc:spChg chg="mod">
          <ac:chgData name="Gupta, Shilpa G." userId="e883dc3f-d1c2-4955-ab59-e7c8302cf7b6" providerId="ADAL" clId="{4C1C38E7-3C41-4D56-BA8A-F9E35BC9CBC0}" dt="2023-04-24T14:55:18.694" v="70" actId="1076"/>
          <ac:spMkLst>
            <pc:docMk/>
            <pc:sldMk cId="3262516184" sldId="349"/>
            <ac:spMk id="12" creationId="{E877136D-5D51-8F71-6804-98E3560CD8D0}"/>
          </ac:spMkLst>
        </pc:spChg>
        <pc:spChg chg="mod">
          <ac:chgData name="Gupta, Shilpa G." userId="e883dc3f-d1c2-4955-ab59-e7c8302cf7b6" providerId="ADAL" clId="{4C1C38E7-3C41-4D56-BA8A-F9E35BC9CBC0}" dt="2023-04-24T14:55:34.430" v="72" actId="1076"/>
          <ac:spMkLst>
            <pc:docMk/>
            <pc:sldMk cId="3262516184" sldId="349"/>
            <ac:spMk id="13" creationId="{662476DC-2C11-E579-E0E7-9173EE67A6CA}"/>
          </ac:spMkLst>
        </pc:spChg>
        <pc:picChg chg="add mod">
          <ac:chgData name="Gupta, Shilpa G." userId="e883dc3f-d1c2-4955-ab59-e7c8302cf7b6" providerId="ADAL" clId="{4C1C38E7-3C41-4D56-BA8A-F9E35BC9CBC0}" dt="2023-04-24T14:51:30.888" v="30" actId="1076"/>
          <ac:picMkLst>
            <pc:docMk/>
            <pc:sldMk cId="3262516184" sldId="349"/>
            <ac:picMk id="8" creationId="{D67C25F7-4A24-A0AC-2B94-1F8B14501263}"/>
          </ac:picMkLst>
        </pc:picChg>
        <pc:picChg chg="add mod">
          <ac:chgData name="Gupta, Shilpa G." userId="e883dc3f-d1c2-4955-ab59-e7c8302cf7b6" providerId="ADAL" clId="{4C1C38E7-3C41-4D56-BA8A-F9E35BC9CBC0}" dt="2023-04-24T14:51:35.045" v="31" actId="1076"/>
          <ac:picMkLst>
            <pc:docMk/>
            <pc:sldMk cId="3262516184" sldId="349"/>
            <ac:picMk id="14" creationId="{62E2714D-7F00-5853-FA9B-5849BA52E075}"/>
          </ac:picMkLst>
        </pc:picChg>
        <pc:picChg chg="add mod modCrop">
          <ac:chgData name="Gupta, Shilpa G." userId="e883dc3f-d1c2-4955-ab59-e7c8302cf7b6" providerId="ADAL" clId="{4C1C38E7-3C41-4D56-BA8A-F9E35BC9CBC0}" dt="2023-04-24T14:52:37.052" v="41" actId="1076"/>
          <ac:picMkLst>
            <pc:docMk/>
            <pc:sldMk cId="3262516184" sldId="349"/>
            <ac:picMk id="16" creationId="{E50C6F5C-B12E-152F-38C4-9859EC12A801}"/>
          </ac:picMkLst>
        </pc:picChg>
        <pc:picChg chg="add mod">
          <ac:chgData name="Gupta, Shilpa G." userId="e883dc3f-d1c2-4955-ab59-e7c8302cf7b6" providerId="ADAL" clId="{4C1C38E7-3C41-4D56-BA8A-F9E35BC9CBC0}" dt="2023-04-24T14:51:27.390" v="29" actId="1076"/>
          <ac:picMkLst>
            <pc:docMk/>
            <pc:sldMk cId="3262516184" sldId="349"/>
            <ac:picMk id="17" creationId="{5CD8D004-1766-140E-D978-29AE2E030E3C}"/>
          </ac:picMkLst>
        </pc:picChg>
        <pc:picChg chg="add mod modCrop">
          <ac:chgData name="Gupta, Shilpa G." userId="e883dc3f-d1c2-4955-ab59-e7c8302cf7b6" providerId="ADAL" clId="{4C1C38E7-3C41-4D56-BA8A-F9E35BC9CBC0}" dt="2023-04-24T14:55:24.718" v="71" actId="1076"/>
          <ac:picMkLst>
            <pc:docMk/>
            <pc:sldMk cId="3262516184" sldId="349"/>
            <ac:picMk id="19" creationId="{B902A4D7-4D7F-597C-36AA-7411A75FA5F8}"/>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4/26/23</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4/26/23</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04522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_Top">
    <p:spTree>
      <p:nvGrpSpPr>
        <p:cNvPr id="1" name=""/>
        <p:cNvGrpSpPr/>
        <p:nvPr/>
      </p:nvGrpSpPr>
      <p:grpSpPr>
        <a:xfrm>
          <a:off x="0" y="0"/>
          <a:ext cx="0" cy="0"/>
          <a:chOff x="0" y="0"/>
          <a:chExt cx="0" cy="0"/>
        </a:xfrm>
      </p:grpSpPr>
      <p:pic>
        <p:nvPicPr>
          <p:cNvPr id="1028" name="Picture 4" descr="\\JBWServer\Shared\Clients\Accenture\Divyaa Modok - 14-3665 - Innovation Council framework\wrk\ref\Links\14-2392-drawingboard-v2.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l="34422" t="28577" b="502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6"/>
          <p:cNvSpPr>
            <a:spLocks noEditPoints="1"/>
          </p:cNvSpPr>
          <p:nvPr userDrawn="1"/>
        </p:nvSpPr>
        <p:spPr bwMode="auto">
          <a:xfrm>
            <a:off x="7632171" y="915998"/>
            <a:ext cx="4017963" cy="178702"/>
          </a:xfrm>
          <a:custGeom>
            <a:avLst/>
            <a:gdLst>
              <a:gd name="T0" fmla="*/ 27 w 1199"/>
              <a:gd name="T1" fmla="*/ 3 h 71"/>
              <a:gd name="T2" fmla="*/ 1 w 1199"/>
              <a:gd name="T3" fmla="*/ 53 h 71"/>
              <a:gd name="T4" fmla="*/ 41 w 1199"/>
              <a:gd name="T5" fmla="*/ 19 h 71"/>
              <a:gd name="T6" fmla="*/ 51 w 1199"/>
              <a:gd name="T7" fmla="*/ 50 h 71"/>
              <a:gd name="T8" fmla="*/ 79 w 1199"/>
              <a:gd name="T9" fmla="*/ 18 h 71"/>
              <a:gd name="T10" fmla="*/ 91 w 1199"/>
              <a:gd name="T11" fmla="*/ 55 h 71"/>
              <a:gd name="T12" fmla="*/ 107 w 1199"/>
              <a:gd name="T13" fmla="*/ 29 h 71"/>
              <a:gd name="T14" fmla="*/ 99 w 1199"/>
              <a:gd name="T15" fmla="*/ 38 h 71"/>
              <a:gd name="T16" fmla="*/ 121 w 1199"/>
              <a:gd name="T17" fmla="*/ 10 h 71"/>
              <a:gd name="T18" fmla="*/ 135 w 1199"/>
              <a:gd name="T19" fmla="*/ 50 h 71"/>
              <a:gd name="T20" fmla="*/ 145 w 1199"/>
              <a:gd name="T21" fmla="*/ 33 h 71"/>
              <a:gd name="T22" fmla="*/ 160 w 1199"/>
              <a:gd name="T23" fmla="*/ 29 h 71"/>
              <a:gd name="T24" fmla="*/ 193 w 1199"/>
              <a:gd name="T25" fmla="*/ 19 h 71"/>
              <a:gd name="T26" fmla="*/ 193 w 1199"/>
              <a:gd name="T27" fmla="*/ 47 h 71"/>
              <a:gd name="T28" fmla="*/ 204 w 1199"/>
              <a:gd name="T29" fmla="*/ 19 h 71"/>
              <a:gd name="T30" fmla="*/ 259 w 1199"/>
              <a:gd name="T31" fmla="*/ 71 h 71"/>
              <a:gd name="T32" fmla="*/ 326 w 1199"/>
              <a:gd name="T33" fmla="*/ 28 h 71"/>
              <a:gd name="T34" fmla="*/ 302 w 1199"/>
              <a:gd name="T35" fmla="*/ 8 h 71"/>
              <a:gd name="T36" fmla="*/ 334 w 1199"/>
              <a:gd name="T37" fmla="*/ 9 h 71"/>
              <a:gd name="T38" fmla="*/ 361 w 1199"/>
              <a:gd name="T39" fmla="*/ 54 h 71"/>
              <a:gd name="T40" fmla="*/ 361 w 1199"/>
              <a:gd name="T41" fmla="*/ 69 h 71"/>
              <a:gd name="T42" fmla="*/ 355 w 1199"/>
              <a:gd name="T43" fmla="*/ 37 h 71"/>
              <a:gd name="T44" fmla="*/ 387 w 1199"/>
              <a:gd name="T45" fmla="*/ 54 h 71"/>
              <a:gd name="T46" fmla="*/ 406 w 1199"/>
              <a:gd name="T47" fmla="*/ 23 h 71"/>
              <a:gd name="T48" fmla="*/ 421 w 1199"/>
              <a:gd name="T49" fmla="*/ 23 h 71"/>
              <a:gd name="T50" fmla="*/ 445 w 1199"/>
              <a:gd name="T51" fmla="*/ 49 h 71"/>
              <a:gd name="T52" fmla="*/ 438 w 1199"/>
              <a:gd name="T53" fmla="*/ 18 h 71"/>
              <a:gd name="T54" fmla="*/ 445 w 1199"/>
              <a:gd name="T55" fmla="*/ 38 h 71"/>
              <a:gd name="T56" fmla="*/ 498 w 1199"/>
              <a:gd name="T57" fmla="*/ 0 h 71"/>
              <a:gd name="T58" fmla="*/ 556 w 1199"/>
              <a:gd name="T59" fmla="*/ 3 h 71"/>
              <a:gd name="T60" fmla="*/ 571 w 1199"/>
              <a:gd name="T61" fmla="*/ 18 h 71"/>
              <a:gd name="T62" fmla="*/ 578 w 1199"/>
              <a:gd name="T63" fmla="*/ 29 h 71"/>
              <a:gd name="T64" fmla="*/ 616 w 1199"/>
              <a:gd name="T65" fmla="*/ 29 h 71"/>
              <a:gd name="T66" fmla="*/ 643 w 1199"/>
              <a:gd name="T67" fmla="*/ 34 h 71"/>
              <a:gd name="T68" fmla="*/ 628 w 1199"/>
              <a:gd name="T69" fmla="*/ 27 h 71"/>
              <a:gd name="T70" fmla="*/ 664 w 1199"/>
              <a:gd name="T71" fmla="*/ 39 h 71"/>
              <a:gd name="T72" fmla="*/ 684 w 1199"/>
              <a:gd name="T73" fmla="*/ 29 h 71"/>
              <a:gd name="T74" fmla="*/ 716 w 1199"/>
              <a:gd name="T75" fmla="*/ 36 h 71"/>
              <a:gd name="T76" fmla="*/ 735 w 1199"/>
              <a:gd name="T77" fmla="*/ 54 h 71"/>
              <a:gd name="T78" fmla="*/ 759 w 1199"/>
              <a:gd name="T79" fmla="*/ 22 h 71"/>
              <a:gd name="T80" fmla="*/ 791 w 1199"/>
              <a:gd name="T81" fmla="*/ 18 h 71"/>
              <a:gd name="T82" fmla="*/ 781 w 1199"/>
              <a:gd name="T83" fmla="*/ 63 h 71"/>
              <a:gd name="T84" fmla="*/ 801 w 1199"/>
              <a:gd name="T85" fmla="*/ 36 h 71"/>
              <a:gd name="T86" fmla="*/ 842 w 1199"/>
              <a:gd name="T87" fmla="*/ 19 h 71"/>
              <a:gd name="T88" fmla="*/ 899 w 1199"/>
              <a:gd name="T89" fmla="*/ 28 h 71"/>
              <a:gd name="T90" fmla="*/ 917 w 1199"/>
              <a:gd name="T91" fmla="*/ 50 h 71"/>
              <a:gd name="T92" fmla="*/ 970 w 1199"/>
              <a:gd name="T93" fmla="*/ 36 h 71"/>
              <a:gd name="T94" fmla="*/ 949 w 1199"/>
              <a:gd name="T95" fmla="*/ 36 h 71"/>
              <a:gd name="T96" fmla="*/ 1003 w 1199"/>
              <a:gd name="T97" fmla="*/ 33 h 71"/>
              <a:gd name="T98" fmla="*/ 983 w 1199"/>
              <a:gd name="T99" fmla="*/ 29 h 71"/>
              <a:gd name="T100" fmla="*/ 1028 w 1199"/>
              <a:gd name="T101" fmla="*/ 23 h 71"/>
              <a:gd name="T102" fmla="*/ 1031 w 1199"/>
              <a:gd name="T103" fmla="*/ 45 h 71"/>
              <a:gd name="T104" fmla="*/ 1056 w 1199"/>
              <a:gd name="T105" fmla="*/ 54 h 71"/>
              <a:gd name="T106" fmla="*/ 1084 w 1199"/>
              <a:gd name="T107" fmla="*/ 54 h 71"/>
              <a:gd name="T108" fmla="*/ 1075 w 1199"/>
              <a:gd name="T109" fmla="*/ 7 h 71"/>
              <a:gd name="T110" fmla="*/ 1084 w 1199"/>
              <a:gd name="T111" fmla="*/ 54 h 71"/>
              <a:gd name="T112" fmla="*/ 1096 w 1199"/>
              <a:gd name="T113" fmla="*/ 19 h 71"/>
              <a:gd name="T114" fmla="*/ 1129 w 1199"/>
              <a:gd name="T115" fmla="*/ 36 h 71"/>
              <a:gd name="T116" fmla="*/ 1148 w 1199"/>
              <a:gd name="T117" fmla="*/ 39 h 71"/>
              <a:gd name="T118" fmla="*/ 1168 w 1199"/>
              <a:gd name="T119" fmla="*/ 29 h 71"/>
              <a:gd name="T120" fmla="*/ 1176 w 1199"/>
              <a:gd name="T121" fmla="*/ 27 h 71"/>
              <a:gd name="T122" fmla="*/ 1199 w 1199"/>
              <a:gd name="T123"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9" h="71">
                <a:moveTo>
                  <a:pt x="1" y="47"/>
                </a:moveTo>
                <a:cubicBezTo>
                  <a:pt x="5" y="49"/>
                  <a:pt x="9" y="50"/>
                  <a:pt x="13" y="50"/>
                </a:cubicBezTo>
                <a:cubicBezTo>
                  <a:pt x="19" y="50"/>
                  <a:pt x="24" y="47"/>
                  <a:pt x="24" y="41"/>
                </a:cubicBezTo>
                <a:cubicBezTo>
                  <a:pt x="24" y="35"/>
                  <a:pt x="20" y="33"/>
                  <a:pt x="16" y="31"/>
                </a:cubicBezTo>
                <a:cubicBezTo>
                  <a:pt x="11" y="28"/>
                  <a:pt x="11" y="28"/>
                  <a:pt x="11" y="28"/>
                </a:cubicBezTo>
                <a:cubicBezTo>
                  <a:pt x="6" y="25"/>
                  <a:pt x="0" y="22"/>
                  <a:pt x="0" y="15"/>
                </a:cubicBezTo>
                <a:cubicBezTo>
                  <a:pt x="0" y="6"/>
                  <a:pt x="8" y="2"/>
                  <a:pt x="17" y="2"/>
                </a:cubicBezTo>
                <a:cubicBezTo>
                  <a:pt x="20" y="2"/>
                  <a:pt x="24" y="3"/>
                  <a:pt x="27" y="3"/>
                </a:cubicBezTo>
                <a:cubicBezTo>
                  <a:pt x="27" y="9"/>
                  <a:pt x="27" y="9"/>
                  <a:pt x="27" y="9"/>
                </a:cubicBezTo>
                <a:cubicBezTo>
                  <a:pt x="24" y="8"/>
                  <a:pt x="20" y="7"/>
                  <a:pt x="16" y="7"/>
                </a:cubicBezTo>
                <a:cubicBezTo>
                  <a:pt x="11" y="7"/>
                  <a:pt x="7" y="9"/>
                  <a:pt x="7" y="15"/>
                </a:cubicBezTo>
                <a:cubicBezTo>
                  <a:pt x="7" y="19"/>
                  <a:pt x="11" y="22"/>
                  <a:pt x="15" y="24"/>
                </a:cubicBezTo>
                <a:cubicBezTo>
                  <a:pt x="20" y="26"/>
                  <a:pt x="20" y="26"/>
                  <a:pt x="20" y="26"/>
                </a:cubicBezTo>
                <a:cubicBezTo>
                  <a:pt x="26" y="30"/>
                  <a:pt x="31" y="33"/>
                  <a:pt x="31" y="40"/>
                </a:cubicBezTo>
                <a:cubicBezTo>
                  <a:pt x="31" y="51"/>
                  <a:pt x="22" y="55"/>
                  <a:pt x="13" y="55"/>
                </a:cubicBezTo>
                <a:cubicBezTo>
                  <a:pt x="9" y="55"/>
                  <a:pt x="5" y="54"/>
                  <a:pt x="1" y="53"/>
                </a:cubicBezTo>
                <a:lnTo>
                  <a:pt x="1" y="47"/>
                </a:lnTo>
                <a:close/>
                <a:moveTo>
                  <a:pt x="55" y="54"/>
                </a:moveTo>
                <a:cubicBezTo>
                  <a:pt x="53" y="55"/>
                  <a:pt x="52" y="55"/>
                  <a:pt x="50" y="55"/>
                </a:cubicBezTo>
                <a:cubicBezTo>
                  <a:pt x="44" y="55"/>
                  <a:pt x="41" y="52"/>
                  <a:pt x="41" y="46"/>
                </a:cubicBezTo>
                <a:cubicBezTo>
                  <a:pt x="41" y="23"/>
                  <a:pt x="41" y="23"/>
                  <a:pt x="41" y="23"/>
                </a:cubicBezTo>
                <a:cubicBezTo>
                  <a:pt x="35" y="23"/>
                  <a:pt x="35" y="23"/>
                  <a:pt x="35" y="23"/>
                </a:cubicBezTo>
                <a:cubicBezTo>
                  <a:pt x="35" y="19"/>
                  <a:pt x="35" y="19"/>
                  <a:pt x="35" y="19"/>
                </a:cubicBezTo>
                <a:cubicBezTo>
                  <a:pt x="41" y="19"/>
                  <a:pt x="41" y="19"/>
                  <a:pt x="41" y="19"/>
                </a:cubicBezTo>
                <a:cubicBezTo>
                  <a:pt x="41" y="10"/>
                  <a:pt x="41" y="10"/>
                  <a:pt x="41" y="10"/>
                </a:cubicBezTo>
                <a:cubicBezTo>
                  <a:pt x="46" y="7"/>
                  <a:pt x="46" y="7"/>
                  <a:pt x="46" y="7"/>
                </a:cubicBezTo>
                <a:cubicBezTo>
                  <a:pt x="46" y="19"/>
                  <a:pt x="46" y="19"/>
                  <a:pt x="46" y="19"/>
                </a:cubicBezTo>
                <a:cubicBezTo>
                  <a:pt x="55" y="19"/>
                  <a:pt x="55" y="19"/>
                  <a:pt x="55" y="19"/>
                </a:cubicBezTo>
                <a:cubicBezTo>
                  <a:pt x="55" y="23"/>
                  <a:pt x="55" y="23"/>
                  <a:pt x="55" y="23"/>
                </a:cubicBezTo>
                <a:cubicBezTo>
                  <a:pt x="46" y="23"/>
                  <a:pt x="46" y="23"/>
                  <a:pt x="46" y="23"/>
                </a:cubicBezTo>
                <a:cubicBezTo>
                  <a:pt x="46" y="45"/>
                  <a:pt x="46" y="45"/>
                  <a:pt x="46" y="45"/>
                </a:cubicBezTo>
                <a:cubicBezTo>
                  <a:pt x="46" y="48"/>
                  <a:pt x="47" y="50"/>
                  <a:pt x="51" y="50"/>
                </a:cubicBezTo>
                <a:cubicBezTo>
                  <a:pt x="53" y="50"/>
                  <a:pt x="54" y="50"/>
                  <a:pt x="55" y="50"/>
                </a:cubicBezTo>
                <a:lnTo>
                  <a:pt x="55" y="54"/>
                </a:lnTo>
                <a:close/>
                <a:moveTo>
                  <a:pt x="62" y="54"/>
                </a:moveTo>
                <a:cubicBezTo>
                  <a:pt x="62" y="19"/>
                  <a:pt x="62" y="19"/>
                  <a:pt x="62" y="19"/>
                </a:cubicBezTo>
                <a:cubicBezTo>
                  <a:pt x="67" y="19"/>
                  <a:pt x="67" y="19"/>
                  <a:pt x="67" y="19"/>
                </a:cubicBezTo>
                <a:cubicBezTo>
                  <a:pt x="67" y="25"/>
                  <a:pt x="67" y="25"/>
                  <a:pt x="67" y="25"/>
                </a:cubicBezTo>
                <a:cubicBezTo>
                  <a:pt x="67" y="25"/>
                  <a:pt x="67" y="25"/>
                  <a:pt x="67" y="25"/>
                </a:cubicBezTo>
                <a:cubicBezTo>
                  <a:pt x="69" y="20"/>
                  <a:pt x="73" y="18"/>
                  <a:pt x="79" y="18"/>
                </a:cubicBezTo>
                <a:cubicBezTo>
                  <a:pt x="79" y="23"/>
                  <a:pt x="79" y="23"/>
                  <a:pt x="79" y="23"/>
                </a:cubicBezTo>
                <a:cubicBezTo>
                  <a:pt x="70" y="23"/>
                  <a:pt x="67" y="32"/>
                  <a:pt x="67" y="39"/>
                </a:cubicBezTo>
                <a:cubicBezTo>
                  <a:pt x="67" y="54"/>
                  <a:pt x="67" y="54"/>
                  <a:pt x="67" y="54"/>
                </a:cubicBezTo>
                <a:lnTo>
                  <a:pt x="62" y="54"/>
                </a:lnTo>
                <a:close/>
                <a:moveTo>
                  <a:pt x="102" y="54"/>
                </a:moveTo>
                <a:cubicBezTo>
                  <a:pt x="102" y="49"/>
                  <a:pt x="102" y="49"/>
                  <a:pt x="102" y="49"/>
                </a:cubicBezTo>
                <a:cubicBezTo>
                  <a:pt x="102" y="49"/>
                  <a:pt x="102" y="49"/>
                  <a:pt x="102" y="49"/>
                </a:cubicBezTo>
                <a:cubicBezTo>
                  <a:pt x="100" y="53"/>
                  <a:pt x="95" y="55"/>
                  <a:pt x="91" y="55"/>
                </a:cubicBezTo>
                <a:cubicBezTo>
                  <a:pt x="85" y="55"/>
                  <a:pt x="82" y="51"/>
                  <a:pt x="82" y="45"/>
                </a:cubicBezTo>
                <a:cubicBezTo>
                  <a:pt x="82" y="37"/>
                  <a:pt x="91" y="34"/>
                  <a:pt x="102" y="34"/>
                </a:cubicBezTo>
                <a:cubicBezTo>
                  <a:pt x="102" y="33"/>
                  <a:pt x="102" y="33"/>
                  <a:pt x="102" y="33"/>
                </a:cubicBezTo>
                <a:cubicBezTo>
                  <a:pt x="102" y="28"/>
                  <a:pt x="102" y="22"/>
                  <a:pt x="95" y="22"/>
                </a:cubicBezTo>
                <a:cubicBezTo>
                  <a:pt x="91" y="22"/>
                  <a:pt x="89" y="23"/>
                  <a:pt x="88" y="28"/>
                </a:cubicBezTo>
                <a:cubicBezTo>
                  <a:pt x="83" y="28"/>
                  <a:pt x="83" y="28"/>
                  <a:pt x="83" y="28"/>
                </a:cubicBezTo>
                <a:cubicBezTo>
                  <a:pt x="83" y="21"/>
                  <a:pt x="89" y="18"/>
                  <a:pt x="95" y="18"/>
                </a:cubicBezTo>
                <a:cubicBezTo>
                  <a:pt x="103" y="18"/>
                  <a:pt x="107" y="21"/>
                  <a:pt x="107" y="29"/>
                </a:cubicBezTo>
                <a:cubicBezTo>
                  <a:pt x="107" y="54"/>
                  <a:pt x="107" y="54"/>
                  <a:pt x="107" y="54"/>
                </a:cubicBezTo>
                <a:lnTo>
                  <a:pt x="102" y="54"/>
                </a:lnTo>
                <a:close/>
                <a:moveTo>
                  <a:pt x="99" y="38"/>
                </a:moveTo>
                <a:cubicBezTo>
                  <a:pt x="95" y="38"/>
                  <a:pt x="88" y="40"/>
                  <a:pt x="88" y="45"/>
                </a:cubicBezTo>
                <a:cubicBezTo>
                  <a:pt x="88" y="48"/>
                  <a:pt x="90" y="50"/>
                  <a:pt x="93" y="50"/>
                </a:cubicBezTo>
                <a:cubicBezTo>
                  <a:pt x="96" y="50"/>
                  <a:pt x="99" y="48"/>
                  <a:pt x="101" y="45"/>
                </a:cubicBezTo>
                <a:cubicBezTo>
                  <a:pt x="102" y="42"/>
                  <a:pt x="102" y="41"/>
                  <a:pt x="102" y="38"/>
                </a:cubicBezTo>
                <a:lnTo>
                  <a:pt x="99" y="38"/>
                </a:lnTo>
                <a:close/>
                <a:moveTo>
                  <a:pt x="135" y="54"/>
                </a:moveTo>
                <a:cubicBezTo>
                  <a:pt x="133" y="55"/>
                  <a:pt x="132" y="55"/>
                  <a:pt x="130" y="55"/>
                </a:cubicBezTo>
                <a:cubicBezTo>
                  <a:pt x="124" y="55"/>
                  <a:pt x="121" y="52"/>
                  <a:pt x="121" y="46"/>
                </a:cubicBezTo>
                <a:cubicBezTo>
                  <a:pt x="121" y="23"/>
                  <a:pt x="121" y="23"/>
                  <a:pt x="121" y="23"/>
                </a:cubicBezTo>
                <a:cubicBezTo>
                  <a:pt x="115" y="23"/>
                  <a:pt x="115" y="23"/>
                  <a:pt x="115" y="23"/>
                </a:cubicBezTo>
                <a:cubicBezTo>
                  <a:pt x="115" y="19"/>
                  <a:pt x="115" y="19"/>
                  <a:pt x="115" y="19"/>
                </a:cubicBezTo>
                <a:cubicBezTo>
                  <a:pt x="121" y="19"/>
                  <a:pt x="121" y="19"/>
                  <a:pt x="121" y="19"/>
                </a:cubicBezTo>
                <a:cubicBezTo>
                  <a:pt x="121" y="10"/>
                  <a:pt x="121" y="10"/>
                  <a:pt x="121" y="10"/>
                </a:cubicBezTo>
                <a:cubicBezTo>
                  <a:pt x="126" y="7"/>
                  <a:pt x="126" y="7"/>
                  <a:pt x="126" y="7"/>
                </a:cubicBezTo>
                <a:cubicBezTo>
                  <a:pt x="126" y="19"/>
                  <a:pt x="126" y="19"/>
                  <a:pt x="126" y="19"/>
                </a:cubicBezTo>
                <a:cubicBezTo>
                  <a:pt x="135" y="19"/>
                  <a:pt x="135" y="19"/>
                  <a:pt x="135" y="19"/>
                </a:cubicBezTo>
                <a:cubicBezTo>
                  <a:pt x="135" y="23"/>
                  <a:pt x="135" y="23"/>
                  <a:pt x="135" y="23"/>
                </a:cubicBezTo>
                <a:cubicBezTo>
                  <a:pt x="126" y="23"/>
                  <a:pt x="126" y="23"/>
                  <a:pt x="126" y="23"/>
                </a:cubicBezTo>
                <a:cubicBezTo>
                  <a:pt x="126" y="45"/>
                  <a:pt x="126" y="45"/>
                  <a:pt x="126" y="45"/>
                </a:cubicBezTo>
                <a:cubicBezTo>
                  <a:pt x="126" y="48"/>
                  <a:pt x="127" y="50"/>
                  <a:pt x="131" y="50"/>
                </a:cubicBezTo>
                <a:cubicBezTo>
                  <a:pt x="133" y="50"/>
                  <a:pt x="133" y="50"/>
                  <a:pt x="135" y="50"/>
                </a:cubicBezTo>
                <a:lnTo>
                  <a:pt x="135" y="54"/>
                </a:lnTo>
                <a:close/>
                <a:moveTo>
                  <a:pt x="165" y="54"/>
                </a:moveTo>
                <a:cubicBezTo>
                  <a:pt x="162" y="54"/>
                  <a:pt x="160" y="55"/>
                  <a:pt x="157" y="55"/>
                </a:cubicBezTo>
                <a:cubicBezTo>
                  <a:pt x="145" y="55"/>
                  <a:pt x="140" y="47"/>
                  <a:pt x="140" y="35"/>
                </a:cubicBezTo>
                <a:cubicBezTo>
                  <a:pt x="140" y="26"/>
                  <a:pt x="143" y="18"/>
                  <a:pt x="153" y="18"/>
                </a:cubicBezTo>
                <a:cubicBezTo>
                  <a:pt x="162" y="18"/>
                  <a:pt x="166" y="23"/>
                  <a:pt x="166" y="31"/>
                </a:cubicBezTo>
                <a:cubicBezTo>
                  <a:pt x="166" y="33"/>
                  <a:pt x="166" y="33"/>
                  <a:pt x="166" y="33"/>
                </a:cubicBezTo>
                <a:cubicBezTo>
                  <a:pt x="145" y="33"/>
                  <a:pt x="145" y="33"/>
                  <a:pt x="145" y="33"/>
                </a:cubicBezTo>
                <a:cubicBezTo>
                  <a:pt x="145" y="35"/>
                  <a:pt x="145" y="35"/>
                  <a:pt x="145" y="35"/>
                </a:cubicBezTo>
                <a:cubicBezTo>
                  <a:pt x="145" y="43"/>
                  <a:pt x="149" y="50"/>
                  <a:pt x="158" y="50"/>
                </a:cubicBezTo>
                <a:cubicBezTo>
                  <a:pt x="160" y="50"/>
                  <a:pt x="163" y="50"/>
                  <a:pt x="165" y="49"/>
                </a:cubicBezTo>
                <a:lnTo>
                  <a:pt x="165" y="54"/>
                </a:lnTo>
                <a:close/>
                <a:moveTo>
                  <a:pt x="160" y="29"/>
                </a:moveTo>
                <a:cubicBezTo>
                  <a:pt x="160" y="25"/>
                  <a:pt x="157" y="22"/>
                  <a:pt x="153" y="22"/>
                </a:cubicBezTo>
                <a:cubicBezTo>
                  <a:pt x="149" y="22"/>
                  <a:pt x="147" y="25"/>
                  <a:pt x="146" y="29"/>
                </a:cubicBezTo>
                <a:lnTo>
                  <a:pt x="160" y="29"/>
                </a:lnTo>
                <a:close/>
                <a:moveTo>
                  <a:pt x="193" y="47"/>
                </a:moveTo>
                <a:cubicBezTo>
                  <a:pt x="193" y="47"/>
                  <a:pt x="193" y="47"/>
                  <a:pt x="193" y="47"/>
                </a:cubicBezTo>
                <a:cubicBezTo>
                  <a:pt x="191" y="51"/>
                  <a:pt x="188" y="54"/>
                  <a:pt x="183" y="54"/>
                </a:cubicBezTo>
                <a:cubicBezTo>
                  <a:pt x="174" y="54"/>
                  <a:pt x="172" y="44"/>
                  <a:pt x="172" y="36"/>
                </a:cubicBezTo>
                <a:cubicBezTo>
                  <a:pt x="172" y="29"/>
                  <a:pt x="174" y="18"/>
                  <a:pt x="184" y="18"/>
                </a:cubicBezTo>
                <a:cubicBezTo>
                  <a:pt x="188" y="18"/>
                  <a:pt x="192" y="20"/>
                  <a:pt x="193" y="24"/>
                </a:cubicBezTo>
                <a:cubicBezTo>
                  <a:pt x="193" y="24"/>
                  <a:pt x="193" y="24"/>
                  <a:pt x="193" y="24"/>
                </a:cubicBezTo>
                <a:cubicBezTo>
                  <a:pt x="193" y="19"/>
                  <a:pt x="193" y="19"/>
                  <a:pt x="193" y="19"/>
                </a:cubicBezTo>
                <a:cubicBezTo>
                  <a:pt x="198" y="19"/>
                  <a:pt x="198" y="19"/>
                  <a:pt x="198" y="19"/>
                </a:cubicBezTo>
                <a:cubicBezTo>
                  <a:pt x="198" y="54"/>
                  <a:pt x="198" y="54"/>
                  <a:pt x="198" y="54"/>
                </a:cubicBezTo>
                <a:cubicBezTo>
                  <a:pt x="198" y="64"/>
                  <a:pt x="193" y="69"/>
                  <a:pt x="183" y="69"/>
                </a:cubicBezTo>
                <a:cubicBezTo>
                  <a:pt x="180" y="69"/>
                  <a:pt x="177" y="69"/>
                  <a:pt x="173" y="68"/>
                </a:cubicBezTo>
                <a:cubicBezTo>
                  <a:pt x="173" y="63"/>
                  <a:pt x="173" y="63"/>
                  <a:pt x="173" y="63"/>
                </a:cubicBezTo>
                <a:cubicBezTo>
                  <a:pt x="176" y="64"/>
                  <a:pt x="179" y="65"/>
                  <a:pt x="182" y="65"/>
                </a:cubicBezTo>
                <a:cubicBezTo>
                  <a:pt x="190" y="65"/>
                  <a:pt x="193" y="61"/>
                  <a:pt x="193" y="53"/>
                </a:cubicBezTo>
                <a:lnTo>
                  <a:pt x="193" y="47"/>
                </a:lnTo>
                <a:close/>
                <a:moveTo>
                  <a:pt x="193" y="36"/>
                </a:moveTo>
                <a:cubicBezTo>
                  <a:pt x="193" y="31"/>
                  <a:pt x="191" y="22"/>
                  <a:pt x="185" y="22"/>
                </a:cubicBezTo>
                <a:cubicBezTo>
                  <a:pt x="178" y="22"/>
                  <a:pt x="177" y="32"/>
                  <a:pt x="177" y="37"/>
                </a:cubicBezTo>
                <a:cubicBezTo>
                  <a:pt x="177" y="41"/>
                  <a:pt x="178" y="50"/>
                  <a:pt x="184" y="50"/>
                </a:cubicBezTo>
                <a:cubicBezTo>
                  <a:pt x="191" y="50"/>
                  <a:pt x="193" y="41"/>
                  <a:pt x="193" y="36"/>
                </a:cubicBezTo>
                <a:close/>
                <a:moveTo>
                  <a:pt x="212" y="68"/>
                </a:moveTo>
                <a:cubicBezTo>
                  <a:pt x="217" y="54"/>
                  <a:pt x="217" y="54"/>
                  <a:pt x="217" y="54"/>
                </a:cubicBezTo>
                <a:cubicBezTo>
                  <a:pt x="204" y="19"/>
                  <a:pt x="204" y="19"/>
                  <a:pt x="204" y="19"/>
                </a:cubicBezTo>
                <a:cubicBezTo>
                  <a:pt x="209" y="19"/>
                  <a:pt x="209" y="19"/>
                  <a:pt x="209" y="19"/>
                </a:cubicBezTo>
                <a:cubicBezTo>
                  <a:pt x="219" y="46"/>
                  <a:pt x="219" y="46"/>
                  <a:pt x="219" y="46"/>
                </a:cubicBezTo>
                <a:cubicBezTo>
                  <a:pt x="219" y="46"/>
                  <a:pt x="219" y="46"/>
                  <a:pt x="219" y="46"/>
                </a:cubicBezTo>
                <a:cubicBezTo>
                  <a:pt x="229" y="19"/>
                  <a:pt x="229" y="19"/>
                  <a:pt x="229" y="19"/>
                </a:cubicBezTo>
                <a:cubicBezTo>
                  <a:pt x="234" y="19"/>
                  <a:pt x="234" y="19"/>
                  <a:pt x="234" y="19"/>
                </a:cubicBezTo>
                <a:cubicBezTo>
                  <a:pt x="217" y="68"/>
                  <a:pt x="217" y="68"/>
                  <a:pt x="217" y="68"/>
                </a:cubicBezTo>
                <a:lnTo>
                  <a:pt x="212" y="68"/>
                </a:lnTo>
                <a:close/>
                <a:moveTo>
                  <a:pt x="259" y="71"/>
                </a:moveTo>
                <a:cubicBezTo>
                  <a:pt x="259" y="0"/>
                  <a:pt x="259" y="0"/>
                  <a:pt x="259" y="0"/>
                </a:cubicBezTo>
                <a:cubicBezTo>
                  <a:pt x="263" y="0"/>
                  <a:pt x="263" y="0"/>
                  <a:pt x="263" y="0"/>
                </a:cubicBezTo>
                <a:cubicBezTo>
                  <a:pt x="263" y="71"/>
                  <a:pt x="263" y="71"/>
                  <a:pt x="263" y="71"/>
                </a:cubicBezTo>
                <a:lnTo>
                  <a:pt x="259" y="71"/>
                </a:lnTo>
                <a:close/>
                <a:moveTo>
                  <a:pt x="293" y="54"/>
                </a:moveTo>
                <a:cubicBezTo>
                  <a:pt x="293" y="3"/>
                  <a:pt x="293" y="3"/>
                  <a:pt x="293" y="3"/>
                </a:cubicBezTo>
                <a:cubicBezTo>
                  <a:pt x="305" y="3"/>
                  <a:pt x="305" y="3"/>
                  <a:pt x="305" y="3"/>
                </a:cubicBezTo>
                <a:cubicBezTo>
                  <a:pt x="321" y="3"/>
                  <a:pt x="326" y="13"/>
                  <a:pt x="326" y="28"/>
                </a:cubicBezTo>
                <a:cubicBezTo>
                  <a:pt x="326" y="38"/>
                  <a:pt x="324" y="49"/>
                  <a:pt x="314" y="52"/>
                </a:cubicBezTo>
                <a:cubicBezTo>
                  <a:pt x="310" y="54"/>
                  <a:pt x="307" y="54"/>
                  <a:pt x="303" y="54"/>
                </a:cubicBezTo>
                <a:lnTo>
                  <a:pt x="293" y="54"/>
                </a:lnTo>
                <a:close/>
                <a:moveTo>
                  <a:pt x="303" y="49"/>
                </a:moveTo>
                <a:cubicBezTo>
                  <a:pt x="306" y="49"/>
                  <a:pt x="309" y="49"/>
                  <a:pt x="312" y="48"/>
                </a:cubicBezTo>
                <a:cubicBezTo>
                  <a:pt x="319" y="44"/>
                  <a:pt x="320" y="35"/>
                  <a:pt x="320" y="28"/>
                </a:cubicBezTo>
                <a:cubicBezTo>
                  <a:pt x="320" y="21"/>
                  <a:pt x="319" y="12"/>
                  <a:pt x="311" y="9"/>
                </a:cubicBezTo>
                <a:cubicBezTo>
                  <a:pt x="308" y="8"/>
                  <a:pt x="305" y="8"/>
                  <a:pt x="302" y="8"/>
                </a:cubicBezTo>
                <a:cubicBezTo>
                  <a:pt x="299" y="8"/>
                  <a:pt x="299" y="8"/>
                  <a:pt x="299" y="8"/>
                </a:cubicBezTo>
                <a:cubicBezTo>
                  <a:pt x="299" y="49"/>
                  <a:pt x="299" y="49"/>
                  <a:pt x="299" y="49"/>
                </a:cubicBezTo>
                <a:lnTo>
                  <a:pt x="303" y="49"/>
                </a:lnTo>
                <a:close/>
                <a:moveTo>
                  <a:pt x="334" y="9"/>
                </a:moveTo>
                <a:cubicBezTo>
                  <a:pt x="334" y="3"/>
                  <a:pt x="334" y="3"/>
                  <a:pt x="334" y="3"/>
                </a:cubicBezTo>
                <a:cubicBezTo>
                  <a:pt x="341" y="3"/>
                  <a:pt x="341" y="3"/>
                  <a:pt x="341" y="3"/>
                </a:cubicBezTo>
                <a:cubicBezTo>
                  <a:pt x="341" y="9"/>
                  <a:pt x="341" y="9"/>
                  <a:pt x="341" y="9"/>
                </a:cubicBezTo>
                <a:lnTo>
                  <a:pt x="334" y="9"/>
                </a:lnTo>
                <a:close/>
                <a:moveTo>
                  <a:pt x="335" y="54"/>
                </a:moveTo>
                <a:cubicBezTo>
                  <a:pt x="335" y="19"/>
                  <a:pt x="335" y="19"/>
                  <a:pt x="335" y="19"/>
                </a:cubicBezTo>
                <a:cubicBezTo>
                  <a:pt x="340" y="19"/>
                  <a:pt x="340" y="19"/>
                  <a:pt x="340" y="19"/>
                </a:cubicBezTo>
                <a:cubicBezTo>
                  <a:pt x="340" y="54"/>
                  <a:pt x="340" y="54"/>
                  <a:pt x="340" y="54"/>
                </a:cubicBezTo>
                <a:lnTo>
                  <a:pt x="335" y="54"/>
                </a:lnTo>
                <a:close/>
                <a:moveTo>
                  <a:pt x="371" y="47"/>
                </a:moveTo>
                <a:cubicBezTo>
                  <a:pt x="371" y="47"/>
                  <a:pt x="371" y="47"/>
                  <a:pt x="371" y="47"/>
                </a:cubicBezTo>
                <a:cubicBezTo>
                  <a:pt x="369" y="51"/>
                  <a:pt x="366" y="54"/>
                  <a:pt x="361" y="54"/>
                </a:cubicBezTo>
                <a:cubicBezTo>
                  <a:pt x="352" y="54"/>
                  <a:pt x="349" y="44"/>
                  <a:pt x="349" y="36"/>
                </a:cubicBezTo>
                <a:cubicBezTo>
                  <a:pt x="349" y="29"/>
                  <a:pt x="352" y="18"/>
                  <a:pt x="361" y="18"/>
                </a:cubicBezTo>
                <a:cubicBezTo>
                  <a:pt x="366" y="18"/>
                  <a:pt x="369" y="20"/>
                  <a:pt x="371" y="24"/>
                </a:cubicBezTo>
                <a:cubicBezTo>
                  <a:pt x="371" y="24"/>
                  <a:pt x="371" y="24"/>
                  <a:pt x="371" y="24"/>
                </a:cubicBezTo>
                <a:cubicBezTo>
                  <a:pt x="371" y="19"/>
                  <a:pt x="371" y="19"/>
                  <a:pt x="371" y="19"/>
                </a:cubicBezTo>
                <a:cubicBezTo>
                  <a:pt x="376" y="19"/>
                  <a:pt x="376" y="19"/>
                  <a:pt x="376" y="19"/>
                </a:cubicBezTo>
                <a:cubicBezTo>
                  <a:pt x="376" y="54"/>
                  <a:pt x="376" y="54"/>
                  <a:pt x="376" y="54"/>
                </a:cubicBezTo>
                <a:cubicBezTo>
                  <a:pt x="376" y="64"/>
                  <a:pt x="371" y="69"/>
                  <a:pt x="361" y="69"/>
                </a:cubicBezTo>
                <a:cubicBezTo>
                  <a:pt x="357" y="69"/>
                  <a:pt x="355" y="69"/>
                  <a:pt x="351" y="68"/>
                </a:cubicBezTo>
                <a:cubicBezTo>
                  <a:pt x="351" y="63"/>
                  <a:pt x="351" y="63"/>
                  <a:pt x="351" y="63"/>
                </a:cubicBezTo>
                <a:cubicBezTo>
                  <a:pt x="354" y="64"/>
                  <a:pt x="357" y="65"/>
                  <a:pt x="360" y="65"/>
                </a:cubicBezTo>
                <a:cubicBezTo>
                  <a:pt x="368" y="65"/>
                  <a:pt x="371" y="61"/>
                  <a:pt x="371" y="53"/>
                </a:cubicBezTo>
                <a:lnTo>
                  <a:pt x="371" y="47"/>
                </a:lnTo>
                <a:close/>
                <a:moveTo>
                  <a:pt x="371" y="36"/>
                </a:moveTo>
                <a:cubicBezTo>
                  <a:pt x="371" y="31"/>
                  <a:pt x="369" y="22"/>
                  <a:pt x="362" y="22"/>
                </a:cubicBezTo>
                <a:cubicBezTo>
                  <a:pt x="356" y="22"/>
                  <a:pt x="355" y="32"/>
                  <a:pt x="355" y="37"/>
                </a:cubicBezTo>
                <a:cubicBezTo>
                  <a:pt x="355" y="41"/>
                  <a:pt x="356" y="50"/>
                  <a:pt x="362" y="50"/>
                </a:cubicBezTo>
                <a:cubicBezTo>
                  <a:pt x="369" y="50"/>
                  <a:pt x="371" y="41"/>
                  <a:pt x="371" y="36"/>
                </a:cubicBezTo>
                <a:close/>
                <a:moveTo>
                  <a:pt x="386" y="9"/>
                </a:moveTo>
                <a:cubicBezTo>
                  <a:pt x="386" y="3"/>
                  <a:pt x="386" y="3"/>
                  <a:pt x="386" y="3"/>
                </a:cubicBezTo>
                <a:cubicBezTo>
                  <a:pt x="393" y="3"/>
                  <a:pt x="393" y="3"/>
                  <a:pt x="393" y="3"/>
                </a:cubicBezTo>
                <a:cubicBezTo>
                  <a:pt x="393" y="9"/>
                  <a:pt x="393" y="9"/>
                  <a:pt x="393" y="9"/>
                </a:cubicBezTo>
                <a:lnTo>
                  <a:pt x="386" y="9"/>
                </a:lnTo>
                <a:close/>
                <a:moveTo>
                  <a:pt x="387" y="54"/>
                </a:moveTo>
                <a:cubicBezTo>
                  <a:pt x="387" y="19"/>
                  <a:pt x="387" y="19"/>
                  <a:pt x="387" y="19"/>
                </a:cubicBezTo>
                <a:cubicBezTo>
                  <a:pt x="392" y="19"/>
                  <a:pt x="392" y="19"/>
                  <a:pt x="392" y="19"/>
                </a:cubicBezTo>
                <a:cubicBezTo>
                  <a:pt x="392" y="54"/>
                  <a:pt x="392" y="54"/>
                  <a:pt x="392" y="54"/>
                </a:cubicBezTo>
                <a:lnTo>
                  <a:pt x="387" y="54"/>
                </a:lnTo>
                <a:close/>
                <a:moveTo>
                  <a:pt x="421" y="54"/>
                </a:moveTo>
                <a:cubicBezTo>
                  <a:pt x="419" y="55"/>
                  <a:pt x="418" y="55"/>
                  <a:pt x="416" y="55"/>
                </a:cubicBezTo>
                <a:cubicBezTo>
                  <a:pt x="409" y="55"/>
                  <a:pt x="406" y="52"/>
                  <a:pt x="406" y="46"/>
                </a:cubicBezTo>
                <a:cubicBezTo>
                  <a:pt x="406" y="23"/>
                  <a:pt x="406" y="23"/>
                  <a:pt x="406" y="23"/>
                </a:cubicBezTo>
                <a:cubicBezTo>
                  <a:pt x="401" y="23"/>
                  <a:pt x="401" y="23"/>
                  <a:pt x="401" y="23"/>
                </a:cubicBezTo>
                <a:cubicBezTo>
                  <a:pt x="401" y="19"/>
                  <a:pt x="401" y="19"/>
                  <a:pt x="401" y="19"/>
                </a:cubicBezTo>
                <a:cubicBezTo>
                  <a:pt x="406" y="19"/>
                  <a:pt x="406" y="19"/>
                  <a:pt x="406" y="19"/>
                </a:cubicBezTo>
                <a:cubicBezTo>
                  <a:pt x="406" y="10"/>
                  <a:pt x="406" y="10"/>
                  <a:pt x="406" y="10"/>
                </a:cubicBezTo>
                <a:cubicBezTo>
                  <a:pt x="411" y="7"/>
                  <a:pt x="411" y="7"/>
                  <a:pt x="411" y="7"/>
                </a:cubicBezTo>
                <a:cubicBezTo>
                  <a:pt x="411" y="19"/>
                  <a:pt x="411" y="19"/>
                  <a:pt x="411" y="19"/>
                </a:cubicBezTo>
                <a:cubicBezTo>
                  <a:pt x="421" y="19"/>
                  <a:pt x="421" y="19"/>
                  <a:pt x="421" y="19"/>
                </a:cubicBezTo>
                <a:cubicBezTo>
                  <a:pt x="421" y="23"/>
                  <a:pt x="421" y="23"/>
                  <a:pt x="421" y="23"/>
                </a:cubicBezTo>
                <a:cubicBezTo>
                  <a:pt x="411" y="23"/>
                  <a:pt x="411" y="23"/>
                  <a:pt x="411" y="23"/>
                </a:cubicBezTo>
                <a:cubicBezTo>
                  <a:pt x="411" y="45"/>
                  <a:pt x="411" y="45"/>
                  <a:pt x="411" y="45"/>
                </a:cubicBezTo>
                <a:cubicBezTo>
                  <a:pt x="411" y="48"/>
                  <a:pt x="413" y="50"/>
                  <a:pt x="417" y="50"/>
                </a:cubicBezTo>
                <a:cubicBezTo>
                  <a:pt x="419" y="50"/>
                  <a:pt x="419" y="50"/>
                  <a:pt x="421" y="50"/>
                </a:cubicBezTo>
                <a:lnTo>
                  <a:pt x="421" y="54"/>
                </a:lnTo>
                <a:close/>
                <a:moveTo>
                  <a:pt x="445" y="54"/>
                </a:moveTo>
                <a:cubicBezTo>
                  <a:pt x="445" y="49"/>
                  <a:pt x="445" y="49"/>
                  <a:pt x="445" y="49"/>
                </a:cubicBezTo>
                <a:cubicBezTo>
                  <a:pt x="445" y="49"/>
                  <a:pt x="445" y="49"/>
                  <a:pt x="445" y="49"/>
                </a:cubicBezTo>
                <a:cubicBezTo>
                  <a:pt x="443" y="53"/>
                  <a:pt x="438" y="55"/>
                  <a:pt x="434" y="55"/>
                </a:cubicBezTo>
                <a:cubicBezTo>
                  <a:pt x="428" y="55"/>
                  <a:pt x="425" y="51"/>
                  <a:pt x="425" y="45"/>
                </a:cubicBezTo>
                <a:cubicBezTo>
                  <a:pt x="425" y="37"/>
                  <a:pt x="434" y="34"/>
                  <a:pt x="445" y="34"/>
                </a:cubicBezTo>
                <a:cubicBezTo>
                  <a:pt x="445" y="33"/>
                  <a:pt x="445" y="33"/>
                  <a:pt x="445" y="33"/>
                </a:cubicBezTo>
                <a:cubicBezTo>
                  <a:pt x="445" y="28"/>
                  <a:pt x="446" y="22"/>
                  <a:pt x="439" y="22"/>
                </a:cubicBezTo>
                <a:cubicBezTo>
                  <a:pt x="434" y="22"/>
                  <a:pt x="432" y="23"/>
                  <a:pt x="431" y="28"/>
                </a:cubicBezTo>
                <a:cubicBezTo>
                  <a:pt x="426" y="28"/>
                  <a:pt x="426" y="28"/>
                  <a:pt x="426" y="28"/>
                </a:cubicBezTo>
                <a:cubicBezTo>
                  <a:pt x="426" y="21"/>
                  <a:pt x="432" y="18"/>
                  <a:pt x="438" y="18"/>
                </a:cubicBezTo>
                <a:cubicBezTo>
                  <a:pt x="446" y="18"/>
                  <a:pt x="450" y="21"/>
                  <a:pt x="450" y="29"/>
                </a:cubicBezTo>
                <a:cubicBezTo>
                  <a:pt x="450" y="54"/>
                  <a:pt x="450" y="54"/>
                  <a:pt x="450" y="54"/>
                </a:cubicBezTo>
                <a:lnTo>
                  <a:pt x="445" y="54"/>
                </a:lnTo>
                <a:close/>
                <a:moveTo>
                  <a:pt x="442" y="38"/>
                </a:moveTo>
                <a:cubicBezTo>
                  <a:pt x="438" y="38"/>
                  <a:pt x="431" y="40"/>
                  <a:pt x="431" y="45"/>
                </a:cubicBezTo>
                <a:cubicBezTo>
                  <a:pt x="431" y="48"/>
                  <a:pt x="433" y="50"/>
                  <a:pt x="436" y="50"/>
                </a:cubicBezTo>
                <a:cubicBezTo>
                  <a:pt x="439" y="50"/>
                  <a:pt x="443" y="48"/>
                  <a:pt x="444" y="45"/>
                </a:cubicBezTo>
                <a:cubicBezTo>
                  <a:pt x="445" y="42"/>
                  <a:pt x="445" y="41"/>
                  <a:pt x="445" y="38"/>
                </a:cubicBezTo>
                <a:lnTo>
                  <a:pt x="442" y="38"/>
                </a:lnTo>
                <a:close/>
                <a:moveTo>
                  <a:pt x="462" y="54"/>
                </a:moveTo>
                <a:cubicBezTo>
                  <a:pt x="462" y="3"/>
                  <a:pt x="462" y="3"/>
                  <a:pt x="462" y="3"/>
                </a:cubicBezTo>
                <a:cubicBezTo>
                  <a:pt x="467" y="3"/>
                  <a:pt x="467" y="3"/>
                  <a:pt x="467" y="3"/>
                </a:cubicBezTo>
                <a:cubicBezTo>
                  <a:pt x="467" y="54"/>
                  <a:pt x="467" y="54"/>
                  <a:pt x="467" y="54"/>
                </a:cubicBezTo>
                <a:lnTo>
                  <a:pt x="462" y="54"/>
                </a:lnTo>
                <a:close/>
                <a:moveTo>
                  <a:pt x="498" y="71"/>
                </a:moveTo>
                <a:cubicBezTo>
                  <a:pt x="498" y="0"/>
                  <a:pt x="498" y="0"/>
                  <a:pt x="498" y="0"/>
                </a:cubicBezTo>
                <a:cubicBezTo>
                  <a:pt x="502" y="0"/>
                  <a:pt x="502" y="0"/>
                  <a:pt x="502" y="0"/>
                </a:cubicBezTo>
                <a:cubicBezTo>
                  <a:pt x="502" y="71"/>
                  <a:pt x="502" y="71"/>
                  <a:pt x="502" y="71"/>
                </a:cubicBezTo>
                <a:lnTo>
                  <a:pt x="498" y="71"/>
                </a:lnTo>
                <a:close/>
                <a:moveTo>
                  <a:pt x="538" y="54"/>
                </a:moveTo>
                <a:cubicBezTo>
                  <a:pt x="538" y="8"/>
                  <a:pt x="538" y="8"/>
                  <a:pt x="538" y="8"/>
                </a:cubicBezTo>
                <a:cubicBezTo>
                  <a:pt x="526" y="8"/>
                  <a:pt x="526" y="8"/>
                  <a:pt x="526" y="8"/>
                </a:cubicBezTo>
                <a:cubicBezTo>
                  <a:pt x="526" y="3"/>
                  <a:pt x="526" y="3"/>
                  <a:pt x="526" y="3"/>
                </a:cubicBezTo>
                <a:cubicBezTo>
                  <a:pt x="556" y="3"/>
                  <a:pt x="556" y="3"/>
                  <a:pt x="556" y="3"/>
                </a:cubicBezTo>
                <a:cubicBezTo>
                  <a:pt x="556" y="8"/>
                  <a:pt x="556" y="8"/>
                  <a:pt x="556" y="8"/>
                </a:cubicBezTo>
                <a:cubicBezTo>
                  <a:pt x="544" y="8"/>
                  <a:pt x="544" y="8"/>
                  <a:pt x="544" y="8"/>
                </a:cubicBezTo>
                <a:cubicBezTo>
                  <a:pt x="544" y="54"/>
                  <a:pt x="544" y="54"/>
                  <a:pt x="544" y="54"/>
                </a:cubicBezTo>
                <a:lnTo>
                  <a:pt x="538" y="54"/>
                </a:lnTo>
                <a:close/>
                <a:moveTo>
                  <a:pt x="583" y="54"/>
                </a:moveTo>
                <a:cubicBezTo>
                  <a:pt x="580" y="54"/>
                  <a:pt x="577" y="55"/>
                  <a:pt x="575" y="55"/>
                </a:cubicBezTo>
                <a:cubicBezTo>
                  <a:pt x="562" y="55"/>
                  <a:pt x="557" y="47"/>
                  <a:pt x="557" y="35"/>
                </a:cubicBezTo>
                <a:cubicBezTo>
                  <a:pt x="557" y="26"/>
                  <a:pt x="561" y="18"/>
                  <a:pt x="571" y="18"/>
                </a:cubicBezTo>
                <a:cubicBezTo>
                  <a:pt x="579" y="18"/>
                  <a:pt x="583" y="23"/>
                  <a:pt x="583" y="31"/>
                </a:cubicBezTo>
                <a:cubicBezTo>
                  <a:pt x="583" y="33"/>
                  <a:pt x="583" y="33"/>
                  <a:pt x="583" y="33"/>
                </a:cubicBezTo>
                <a:cubicBezTo>
                  <a:pt x="563" y="33"/>
                  <a:pt x="563" y="33"/>
                  <a:pt x="563" y="33"/>
                </a:cubicBezTo>
                <a:cubicBezTo>
                  <a:pt x="563" y="35"/>
                  <a:pt x="563" y="35"/>
                  <a:pt x="563" y="35"/>
                </a:cubicBezTo>
                <a:cubicBezTo>
                  <a:pt x="563" y="43"/>
                  <a:pt x="567" y="50"/>
                  <a:pt x="576" y="50"/>
                </a:cubicBezTo>
                <a:cubicBezTo>
                  <a:pt x="578" y="50"/>
                  <a:pt x="580" y="50"/>
                  <a:pt x="583" y="49"/>
                </a:cubicBezTo>
                <a:lnTo>
                  <a:pt x="583" y="54"/>
                </a:lnTo>
                <a:close/>
                <a:moveTo>
                  <a:pt x="578" y="29"/>
                </a:moveTo>
                <a:cubicBezTo>
                  <a:pt x="578" y="25"/>
                  <a:pt x="575" y="22"/>
                  <a:pt x="571" y="22"/>
                </a:cubicBezTo>
                <a:cubicBezTo>
                  <a:pt x="567" y="22"/>
                  <a:pt x="564" y="25"/>
                  <a:pt x="563" y="29"/>
                </a:cubicBezTo>
                <a:lnTo>
                  <a:pt x="578" y="29"/>
                </a:lnTo>
                <a:close/>
                <a:moveTo>
                  <a:pt x="615" y="54"/>
                </a:moveTo>
                <a:cubicBezTo>
                  <a:pt x="612" y="54"/>
                  <a:pt x="610" y="55"/>
                  <a:pt x="607" y="55"/>
                </a:cubicBezTo>
                <a:cubicBezTo>
                  <a:pt x="595" y="55"/>
                  <a:pt x="589" y="47"/>
                  <a:pt x="589" y="35"/>
                </a:cubicBezTo>
                <a:cubicBezTo>
                  <a:pt x="589" y="26"/>
                  <a:pt x="593" y="18"/>
                  <a:pt x="604" y="18"/>
                </a:cubicBezTo>
                <a:cubicBezTo>
                  <a:pt x="611" y="18"/>
                  <a:pt x="616" y="22"/>
                  <a:pt x="616" y="29"/>
                </a:cubicBezTo>
                <a:cubicBezTo>
                  <a:pt x="610" y="29"/>
                  <a:pt x="610" y="29"/>
                  <a:pt x="610" y="29"/>
                </a:cubicBezTo>
                <a:cubicBezTo>
                  <a:pt x="610" y="25"/>
                  <a:pt x="608" y="22"/>
                  <a:pt x="603" y="22"/>
                </a:cubicBezTo>
                <a:cubicBezTo>
                  <a:pt x="597" y="22"/>
                  <a:pt x="595" y="29"/>
                  <a:pt x="595" y="34"/>
                </a:cubicBezTo>
                <a:cubicBezTo>
                  <a:pt x="595" y="43"/>
                  <a:pt x="599" y="50"/>
                  <a:pt x="609" y="50"/>
                </a:cubicBezTo>
                <a:cubicBezTo>
                  <a:pt x="611" y="50"/>
                  <a:pt x="613" y="50"/>
                  <a:pt x="615" y="50"/>
                </a:cubicBezTo>
                <a:lnTo>
                  <a:pt x="615" y="54"/>
                </a:lnTo>
                <a:close/>
                <a:moveTo>
                  <a:pt x="643" y="54"/>
                </a:moveTo>
                <a:cubicBezTo>
                  <a:pt x="643" y="34"/>
                  <a:pt x="643" y="34"/>
                  <a:pt x="643" y="34"/>
                </a:cubicBezTo>
                <a:cubicBezTo>
                  <a:pt x="643" y="30"/>
                  <a:pt x="643" y="23"/>
                  <a:pt x="638" y="23"/>
                </a:cubicBezTo>
                <a:cubicBezTo>
                  <a:pt x="631" y="23"/>
                  <a:pt x="628" y="34"/>
                  <a:pt x="628" y="39"/>
                </a:cubicBezTo>
                <a:cubicBezTo>
                  <a:pt x="628" y="54"/>
                  <a:pt x="628" y="54"/>
                  <a:pt x="628" y="54"/>
                </a:cubicBezTo>
                <a:cubicBezTo>
                  <a:pt x="623" y="54"/>
                  <a:pt x="623" y="54"/>
                  <a:pt x="623" y="54"/>
                </a:cubicBezTo>
                <a:cubicBezTo>
                  <a:pt x="623" y="3"/>
                  <a:pt x="623" y="3"/>
                  <a:pt x="623" y="3"/>
                </a:cubicBezTo>
                <a:cubicBezTo>
                  <a:pt x="628" y="3"/>
                  <a:pt x="628" y="3"/>
                  <a:pt x="628" y="3"/>
                </a:cubicBezTo>
                <a:cubicBezTo>
                  <a:pt x="628" y="27"/>
                  <a:pt x="628" y="27"/>
                  <a:pt x="628" y="27"/>
                </a:cubicBezTo>
                <a:cubicBezTo>
                  <a:pt x="628" y="27"/>
                  <a:pt x="628" y="27"/>
                  <a:pt x="628" y="27"/>
                </a:cubicBezTo>
                <a:cubicBezTo>
                  <a:pt x="630" y="21"/>
                  <a:pt x="633" y="18"/>
                  <a:pt x="639" y="18"/>
                </a:cubicBezTo>
                <a:cubicBezTo>
                  <a:pt x="645" y="18"/>
                  <a:pt x="648" y="23"/>
                  <a:pt x="648" y="29"/>
                </a:cubicBezTo>
                <a:cubicBezTo>
                  <a:pt x="648" y="54"/>
                  <a:pt x="648" y="54"/>
                  <a:pt x="648" y="54"/>
                </a:cubicBezTo>
                <a:lnTo>
                  <a:pt x="643" y="54"/>
                </a:lnTo>
                <a:close/>
                <a:moveTo>
                  <a:pt x="679" y="54"/>
                </a:moveTo>
                <a:cubicBezTo>
                  <a:pt x="679" y="34"/>
                  <a:pt x="679" y="34"/>
                  <a:pt x="679" y="34"/>
                </a:cubicBezTo>
                <a:cubicBezTo>
                  <a:pt x="679" y="30"/>
                  <a:pt x="680" y="23"/>
                  <a:pt x="674" y="23"/>
                </a:cubicBezTo>
                <a:cubicBezTo>
                  <a:pt x="667" y="23"/>
                  <a:pt x="664" y="34"/>
                  <a:pt x="664" y="39"/>
                </a:cubicBezTo>
                <a:cubicBezTo>
                  <a:pt x="664" y="54"/>
                  <a:pt x="664" y="54"/>
                  <a:pt x="664" y="54"/>
                </a:cubicBezTo>
                <a:cubicBezTo>
                  <a:pt x="659" y="54"/>
                  <a:pt x="659" y="54"/>
                  <a:pt x="659" y="54"/>
                </a:cubicBezTo>
                <a:cubicBezTo>
                  <a:pt x="659" y="19"/>
                  <a:pt x="659" y="19"/>
                  <a:pt x="659" y="19"/>
                </a:cubicBezTo>
                <a:cubicBezTo>
                  <a:pt x="664" y="19"/>
                  <a:pt x="664" y="19"/>
                  <a:pt x="664" y="19"/>
                </a:cubicBezTo>
                <a:cubicBezTo>
                  <a:pt x="664" y="27"/>
                  <a:pt x="664" y="27"/>
                  <a:pt x="664" y="27"/>
                </a:cubicBezTo>
                <a:cubicBezTo>
                  <a:pt x="664" y="27"/>
                  <a:pt x="664" y="27"/>
                  <a:pt x="664" y="27"/>
                </a:cubicBezTo>
                <a:cubicBezTo>
                  <a:pt x="666" y="21"/>
                  <a:pt x="669" y="18"/>
                  <a:pt x="675" y="18"/>
                </a:cubicBezTo>
                <a:cubicBezTo>
                  <a:pt x="681" y="18"/>
                  <a:pt x="684" y="23"/>
                  <a:pt x="684" y="29"/>
                </a:cubicBezTo>
                <a:cubicBezTo>
                  <a:pt x="684" y="54"/>
                  <a:pt x="684" y="54"/>
                  <a:pt x="684" y="54"/>
                </a:cubicBezTo>
                <a:lnTo>
                  <a:pt x="679" y="54"/>
                </a:lnTo>
                <a:close/>
                <a:moveTo>
                  <a:pt x="693" y="36"/>
                </a:moveTo>
                <a:cubicBezTo>
                  <a:pt x="693" y="27"/>
                  <a:pt x="696" y="18"/>
                  <a:pt x="707" y="18"/>
                </a:cubicBezTo>
                <a:cubicBezTo>
                  <a:pt x="718" y="18"/>
                  <a:pt x="721" y="27"/>
                  <a:pt x="721" y="36"/>
                </a:cubicBezTo>
                <a:cubicBezTo>
                  <a:pt x="721" y="46"/>
                  <a:pt x="718" y="55"/>
                  <a:pt x="707" y="55"/>
                </a:cubicBezTo>
                <a:cubicBezTo>
                  <a:pt x="696" y="55"/>
                  <a:pt x="693" y="46"/>
                  <a:pt x="693" y="36"/>
                </a:cubicBezTo>
                <a:close/>
                <a:moveTo>
                  <a:pt x="716" y="36"/>
                </a:moveTo>
                <a:cubicBezTo>
                  <a:pt x="716" y="31"/>
                  <a:pt x="714" y="22"/>
                  <a:pt x="707" y="22"/>
                </a:cubicBezTo>
                <a:cubicBezTo>
                  <a:pt x="700" y="22"/>
                  <a:pt x="698" y="31"/>
                  <a:pt x="698" y="36"/>
                </a:cubicBezTo>
                <a:cubicBezTo>
                  <a:pt x="698" y="42"/>
                  <a:pt x="700" y="50"/>
                  <a:pt x="707" y="50"/>
                </a:cubicBezTo>
                <a:cubicBezTo>
                  <a:pt x="714" y="50"/>
                  <a:pt x="716" y="42"/>
                  <a:pt x="716" y="36"/>
                </a:cubicBezTo>
                <a:close/>
                <a:moveTo>
                  <a:pt x="730" y="54"/>
                </a:moveTo>
                <a:cubicBezTo>
                  <a:pt x="730" y="3"/>
                  <a:pt x="730" y="3"/>
                  <a:pt x="730" y="3"/>
                </a:cubicBezTo>
                <a:cubicBezTo>
                  <a:pt x="735" y="3"/>
                  <a:pt x="735" y="3"/>
                  <a:pt x="735" y="3"/>
                </a:cubicBezTo>
                <a:cubicBezTo>
                  <a:pt x="735" y="54"/>
                  <a:pt x="735" y="54"/>
                  <a:pt x="735" y="54"/>
                </a:cubicBezTo>
                <a:lnTo>
                  <a:pt x="730" y="54"/>
                </a:lnTo>
                <a:close/>
                <a:moveTo>
                  <a:pt x="745" y="36"/>
                </a:moveTo>
                <a:cubicBezTo>
                  <a:pt x="745" y="27"/>
                  <a:pt x="748" y="18"/>
                  <a:pt x="759" y="18"/>
                </a:cubicBezTo>
                <a:cubicBezTo>
                  <a:pt x="770" y="18"/>
                  <a:pt x="773" y="27"/>
                  <a:pt x="773" y="36"/>
                </a:cubicBezTo>
                <a:cubicBezTo>
                  <a:pt x="773" y="46"/>
                  <a:pt x="770" y="55"/>
                  <a:pt x="759" y="55"/>
                </a:cubicBezTo>
                <a:cubicBezTo>
                  <a:pt x="748" y="55"/>
                  <a:pt x="745" y="46"/>
                  <a:pt x="745" y="36"/>
                </a:cubicBezTo>
                <a:close/>
                <a:moveTo>
                  <a:pt x="768" y="36"/>
                </a:moveTo>
                <a:cubicBezTo>
                  <a:pt x="768" y="31"/>
                  <a:pt x="766" y="22"/>
                  <a:pt x="759" y="22"/>
                </a:cubicBezTo>
                <a:cubicBezTo>
                  <a:pt x="752" y="22"/>
                  <a:pt x="750" y="31"/>
                  <a:pt x="750" y="36"/>
                </a:cubicBezTo>
                <a:cubicBezTo>
                  <a:pt x="750" y="42"/>
                  <a:pt x="752" y="50"/>
                  <a:pt x="759" y="50"/>
                </a:cubicBezTo>
                <a:cubicBezTo>
                  <a:pt x="766" y="50"/>
                  <a:pt x="768" y="42"/>
                  <a:pt x="768" y="36"/>
                </a:cubicBezTo>
                <a:close/>
                <a:moveTo>
                  <a:pt x="801" y="47"/>
                </a:moveTo>
                <a:cubicBezTo>
                  <a:pt x="801" y="47"/>
                  <a:pt x="801" y="47"/>
                  <a:pt x="801" y="47"/>
                </a:cubicBezTo>
                <a:cubicBezTo>
                  <a:pt x="799" y="51"/>
                  <a:pt x="796" y="54"/>
                  <a:pt x="791" y="54"/>
                </a:cubicBezTo>
                <a:cubicBezTo>
                  <a:pt x="782" y="54"/>
                  <a:pt x="779" y="44"/>
                  <a:pt x="779" y="36"/>
                </a:cubicBezTo>
                <a:cubicBezTo>
                  <a:pt x="779" y="29"/>
                  <a:pt x="782" y="18"/>
                  <a:pt x="791" y="18"/>
                </a:cubicBezTo>
                <a:cubicBezTo>
                  <a:pt x="796" y="18"/>
                  <a:pt x="799" y="20"/>
                  <a:pt x="801" y="24"/>
                </a:cubicBezTo>
                <a:cubicBezTo>
                  <a:pt x="801" y="24"/>
                  <a:pt x="801" y="24"/>
                  <a:pt x="801" y="24"/>
                </a:cubicBezTo>
                <a:cubicBezTo>
                  <a:pt x="801" y="19"/>
                  <a:pt x="801" y="19"/>
                  <a:pt x="801" y="19"/>
                </a:cubicBezTo>
                <a:cubicBezTo>
                  <a:pt x="806" y="19"/>
                  <a:pt x="806" y="19"/>
                  <a:pt x="806" y="19"/>
                </a:cubicBezTo>
                <a:cubicBezTo>
                  <a:pt x="806" y="54"/>
                  <a:pt x="806" y="54"/>
                  <a:pt x="806" y="54"/>
                </a:cubicBezTo>
                <a:cubicBezTo>
                  <a:pt x="806" y="64"/>
                  <a:pt x="801" y="69"/>
                  <a:pt x="791" y="69"/>
                </a:cubicBezTo>
                <a:cubicBezTo>
                  <a:pt x="787" y="69"/>
                  <a:pt x="785" y="69"/>
                  <a:pt x="781" y="68"/>
                </a:cubicBezTo>
                <a:cubicBezTo>
                  <a:pt x="781" y="63"/>
                  <a:pt x="781" y="63"/>
                  <a:pt x="781" y="63"/>
                </a:cubicBezTo>
                <a:cubicBezTo>
                  <a:pt x="784" y="64"/>
                  <a:pt x="787" y="65"/>
                  <a:pt x="790" y="65"/>
                </a:cubicBezTo>
                <a:cubicBezTo>
                  <a:pt x="798" y="65"/>
                  <a:pt x="801" y="61"/>
                  <a:pt x="801" y="53"/>
                </a:cubicBezTo>
                <a:lnTo>
                  <a:pt x="801" y="47"/>
                </a:lnTo>
                <a:close/>
                <a:moveTo>
                  <a:pt x="801" y="36"/>
                </a:moveTo>
                <a:cubicBezTo>
                  <a:pt x="801" y="31"/>
                  <a:pt x="799" y="22"/>
                  <a:pt x="792" y="22"/>
                </a:cubicBezTo>
                <a:cubicBezTo>
                  <a:pt x="786" y="22"/>
                  <a:pt x="785" y="32"/>
                  <a:pt x="785" y="37"/>
                </a:cubicBezTo>
                <a:cubicBezTo>
                  <a:pt x="785" y="41"/>
                  <a:pt x="786" y="50"/>
                  <a:pt x="792" y="50"/>
                </a:cubicBezTo>
                <a:cubicBezTo>
                  <a:pt x="799" y="50"/>
                  <a:pt x="801" y="41"/>
                  <a:pt x="801" y="36"/>
                </a:cubicBezTo>
                <a:close/>
                <a:moveTo>
                  <a:pt x="820" y="68"/>
                </a:moveTo>
                <a:cubicBezTo>
                  <a:pt x="825" y="54"/>
                  <a:pt x="825" y="54"/>
                  <a:pt x="825" y="54"/>
                </a:cubicBezTo>
                <a:cubicBezTo>
                  <a:pt x="811" y="19"/>
                  <a:pt x="811" y="19"/>
                  <a:pt x="811" y="19"/>
                </a:cubicBezTo>
                <a:cubicBezTo>
                  <a:pt x="817" y="19"/>
                  <a:pt x="817" y="19"/>
                  <a:pt x="817" y="19"/>
                </a:cubicBezTo>
                <a:cubicBezTo>
                  <a:pt x="827" y="46"/>
                  <a:pt x="827" y="46"/>
                  <a:pt x="827" y="46"/>
                </a:cubicBezTo>
                <a:cubicBezTo>
                  <a:pt x="827" y="46"/>
                  <a:pt x="827" y="46"/>
                  <a:pt x="827" y="46"/>
                </a:cubicBezTo>
                <a:cubicBezTo>
                  <a:pt x="837" y="19"/>
                  <a:pt x="837" y="19"/>
                  <a:pt x="837" y="19"/>
                </a:cubicBezTo>
                <a:cubicBezTo>
                  <a:pt x="842" y="19"/>
                  <a:pt x="842" y="19"/>
                  <a:pt x="842" y="19"/>
                </a:cubicBezTo>
                <a:cubicBezTo>
                  <a:pt x="825" y="68"/>
                  <a:pt x="825" y="68"/>
                  <a:pt x="825" y="68"/>
                </a:cubicBezTo>
                <a:lnTo>
                  <a:pt x="820" y="68"/>
                </a:lnTo>
                <a:close/>
                <a:moveTo>
                  <a:pt x="867" y="71"/>
                </a:moveTo>
                <a:cubicBezTo>
                  <a:pt x="867" y="0"/>
                  <a:pt x="867" y="0"/>
                  <a:pt x="867" y="0"/>
                </a:cubicBezTo>
                <a:cubicBezTo>
                  <a:pt x="871" y="0"/>
                  <a:pt x="871" y="0"/>
                  <a:pt x="871" y="0"/>
                </a:cubicBezTo>
                <a:cubicBezTo>
                  <a:pt x="871" y="71"/>
                  <a:pt x="871" y="71"/>
                  <a:pt x="871" y="71"/>
                </a:cubicBezTo>
                <a:lnTo>
                  <a:pt x="867" y="71"/>
                </a:lnTo>
                <a:close/>
                <a:moveTo>
                  <a:pt x="899" y="28"/>
                </a:moveTo>
                <a:cubicBezTo>
                  <a:pt x="899" y="16"/>
                  <a:pt x="902" y="2"/>
                  <a:pt x="917" y="2"/>
                </a:cubicBezTo>
                <a:cubicBezTo>
                  <a:pt x="932" y="2"/>
                  <a:pt x="935" y="16"/>
                  <a:pt x="935" y="28"/>
                </a:cubicBezTo>
                <a:cubicBezTo>
                  <a:pt x="935" y="40"/>
                  <a:pt x="932" y="55"/>
                  <a:pt x="917" y="55"/>
                </a:cubicBezTo>
                <a:cubicBezTo>
                  <a:pt x="902" y="55"/>
                  <a:pt x="899" y="40"/>
                  <a:pt x="899" y="28"/>
                </a:cubicBezTo>
                <a:close/>
                <a:moveTo>
                  <a:pt x="929" y="28"/>
                </a:moveTo>
                <a:cubicBezTo>
                  <a:pt x="929" y="20"/>
                  <a:pt x="928" y="7"/>
                  <a:pt x="917" y="7"/>
                </a:cubicBezTo>
                <a:cubicBezTo>
                  <a:pt x="906" y="7"/>
                  <a:pt x="905" y="20"/>
                  <a:pt x="905" y="28"/>
                </a:cubicBezTo>
                <a:cubicBezTo>
                  <a:pt x="905" y="36"/>
                  <a:pt x="906" y="50"/>
                  <a:pt x="917" y="50"/>
                </a:cubicBezTo>
                <a:cubicBezTo>
                  <a:pt x="928" y="50"/>
                  <a:pt x="929" y="36"/>
                  <a:pt x="929" y="28"/>
                </a:cubicBezTo>
                <a:close/>
                <a:moveTo>
                  <a:pt x="944" y="70"/>
                </a:moveTo>
                <a:cubicBezTo>
                  <a:pt x="944" y="19"/>
                  <a:pt x="944" y="19"/>
                  <a:pt x="944" y="19"/>
                </a:cubicBezTo>
                <a:cubicBezTo>
                  <a:pt x="949" y="19"/>
                  <a:pt x="949" y="19"/>
                  <a:pt x="949" y="19"/>
                </a:cubicBezTo>
                <a:cubicBezTo>
                  <a:pt x="949" y="25"/>
                  <a:pt x="949" y="25"/>
                  <a:pt x="949" y="25"/>
                </a:cubicBezTo>
                <a:cubicBezTo>
                  <a:pt x="949" y="25"/>
                  <a:pt x="949" y="25"/>
                  <a:pt x="949" y="25"/>
                </a:cubicBezTo>
                <a:cubicBezTo>
                  <a:pt x="950" y="20"/>
                  <a:pt x="954" y="18"/>
                  <a:pt x="958" y="18"/>
                </a:cubicBezTo>
                <a:cubicBezTo>
                  <a:pt x="969" y="18"/>
                  <a:pt x="970" y="28"/>
                  <a:pt x="970" y="36"/>
                </a:cubicBezTo>
                <a:cubicBezTo>
                  <a:pt x="970" y="44"/>
                  <a:pt x="968" y="55"/>
                  <a:pt x="958" y="55"/>
                </a:cubicBezTo>
                <a:cubicBezTo>
                  <a:pt x="954" y="55"/>
                  <a:pt x="951" y="52"/>
                  <a:pt x="949" y="48"/>
                </a:cubicBezTo>
                <a:cubicBezTo>
                  <a:pt x="949" y="48"/>
                  <a:pt x="949" y="48"/>
                  <a:pt x="949" y="48"/>
                </a:cubicBezTo>
                <a:cubicBezTo>
                  <a:pt x="949" y="70"/>
                  <a:pt x="949" y="70"/>
                  <a:pt x="949" y="70"/>
                </a:cubicBezTo>
                <a:lnTo>
                  <a:pt x="944" y="70"/>
                </a:lnTo>
                <a:close/>
                <a:moveTo>
                  <a:pt x="965" y="35"/>
                </a:moveTo>
                <a:cubicBezTo>
                  <a:pt x="965" y="30"/>
                  <a:pt x="964" y="22"/>
                  <a:pt x="957" y="22"/>
                </a:cubicBezTo>
                <a:cubicBezTo>
                  <a:pt x="951" y="22"/>
                  <a:pt x="949" y="31"/>
                  <a:pt x="949" y="36"/>
                </a:cubicBezTo>
                <a:cubicBezTo>
                  <a:pt x="949" y="41"/>
                  <a:pt x="951" y="50"/>
                  <a:pt x="957" y="50"/>
                </a:cubicBezTo>
                <a:cubicBezTo>
                  <a:pt x="964" y="50"/>
                  <a:pt x="965" y="40"/>
                  <a:pt x="965" y="35"/>
                </a:cubicBezTo>
                <a:close/>
                <a:moveTo>
                  <a:pt x="1002" y="54"/>
                </a:moveTo>
                <a:cubicBezTo>
                  <a:pt x="999" y="54"/>
                  <a:pt x="996" y="55"/>
                  <a:pt x="994" y="55"/>
                </a:cubicBezTo>
                <a:cubicBezTo>
                  <a:pt x="981" y="55"/>
                  <a:pt x="977" y="47"/>
                  <a:pt x="977" y="35"/>
                </a:cubicBezTo>
                <a:cubicBezTo>
                  <a:pt x="977" y="26"/>
                  <a:pt x="980" y="18"/>
                  <a:pt x="990" y="18"/>
                </a:cubicBezTo>
                <a:cubicBezTo>
                  <a:pt x="998" y="18"/>
                  <a:pt x="1003" y="23"/>
                  <a:pt x="1003" y="31"/>
                </a:cubicBezTo>
                <a:cubicBezTo>
                  <a:pt x="1003" y="33"/>
                  <a:pt x="1003" y="33"/>
                  <a:pt x="1003" y="33"/>
                </a:cubicBezTo>
                <a:cubicBezTo>
                  <a:pt x="982" y="33"/>
                  <a:pt x="982" y="33"/>
                  <a:pt x="982" y="33"/>
                </a:cubicBezTo>
                <a:cubicBezTo>
                  <a:pt x="982" y="35"/>
                  <a:pt x="982" y="35"/>
                  <a:pt x="982" y="35"/>
                </a:cubicBezTo>
                <a:cubicBezTo>
                  <a:pt x="982" y="43"/>
                  <a:pt x="986" y="50"/>
                  <a:pt x="995" y="50"/>
                </a:cubicBezTo>
                <a:cubicBezTo>
                  <a:pt x="997" y="50"/>
                  <a:pt x="999" y="50"/>
                  <a:pt x="1002" y="49"/>
                </a:cubicBezTo>
                <a:lnTo>
                  <a:pt x="1002" y="54"/>
                </a:lnTo>
                <a:close/>
                <a:moveTo>
                  <a:pt x="997" y="29"/>
                </a:moveTo>
                <a:cubicBezTo>
                  <a:pt x="997" y="25"/>
                  <a:pt x="994" y="22"/>
                  <a:pt x="990" y="22"/>
                </a:cubicBezTo>
                <a:cubicBezTo>
                  <a:pt x="986" y="22"/>
                  <a:pt x="983" y="25"/>
                  <a:pt x="983" y="29"/>
                </a:cubicBezTo>
                <a:lnTo>
                  <a:pt x="997" y="29"/>
                </a:lnTo>
                <a:close/>
                <a:moveTo>
                  <a:pt x="1011" y="54"/>
                </a:moveTo>
                <a:cubicBezTo>
                  <a:pt x="1011" y="19"/>
                  <a:pt x="1011" y="19"/>
                  <a:pt x="1011" y="19"/>
                </a:cubicBezTo>
                <a:cubicBezTo>
                  <a:pt x="1016" y="19"/>
                  <a:pt x="1016" y="19"/>
                  <a:pt x="1016" y="19"/>
                </a:cubicBezTo>
                <a:cubicBezTo>
                  <a:pt x="1016" y="25"/>
                  <a:pt x="1016" y="25"/>
                  <a:pt x="1016" y="25"/>
                </a:cubicBezTo>
                <a:cubicBezTo>
                  <a:pt x="1016" y="25"/>
                  <a:pt x="1016" y="25"/>
                  <a:pt x="1016" y="25"/>
                </a:cubicBezTo>
                <a:cubicBezTo>
                  <a:pt x="1018" y="20"/>
                  <a:pt x="1022" y="18"/>
                  <a:pt x="1028" y="18"/>
                </a:cubicBezTo>
                <a:cubicBezTo>
                  <a:pt x="1028" y="23"/>
                  <a:pt x="1028" y="23"/>
                  <a:pt x="1028" y="23"/>
                </a:cubicBezTo>
                <a:cubicBezTo>
                  <a:pt x="1019" y="23"/>
                  <a:pt x="1016" y="32"/>
                  <a:pt x="1016" y="39"/>
                </a:cubicBezTo>
                <a:cubicBezTo>
                  <a:pt x="1016" y="54"/>
                  <a:pt x="1016" y="54"/>
                  <a:pt x="1016" y="54"/>
                </a:cubicBezTo>
                <a:lnTo>
                  <a:pt x="1011" y="54"/>
                </a:lnTo>
                <a:close/>
                <a:moveTo>
                  <a:pt x="1051" y="54"/>
                </a:moveTo>
                <a:cubicBezTo>
                  <a:pt x="1051" y="49"/>
                  <a:pt x="1051" y="49"/>
                  <a:pt x="1051" y="49"/>
                </a:cubicBezTo>
                <a:cubicBezTo>
                  <a:pt x="1051" y="49"/>
                  <a:pt x="1051" y="49"/>
                  <a:pt x="1051" y="49"/>
                </a:cubicBezTo>
                <a:cubicBezTo>
                  <a:pt x="1049" y="53"/>
                  <a:pt x="1044" y="55"/>
                  <a:pt x="1040" y="55"/>
                </a:cubicBezTo>
                <a:cubicBezTo>
                  <a:pt x="1034" y="55"/>
                  <a:pt x="1031" y="51"/>
                  <a:pt x="1031" y="45"/>
                </a:cubicBezTo>
                <a:cubicBezTo>
                  <a:pt x="1031" y="37"/>
                  <a:pt x="1040" y="34"/>
                  <a:pt x="1051" y="34"/>
                </a:cubicBezTo>
                <a:cubicBezTo>
                  <a:pt x="1051" y="33"/>
                  <a:pt x="1051" y="33"/>
                  <a:pt x="1051" y="33"/>
                </a:cubicBezTo>
                <a:cubicBezTo>
                  <a:pt x="1051" y="28"/>
                  <a:pt x="1051" y="22"/>
                  <a:pt x="1044" y="22"/>
                </a:cubicBezTo>
                <a:cubicBezTo>
                  <a:pt x="1040" y="22"/>
                  <a:pt x="1038" y="23"/>
                  <a:pt x="1037" y="28"/>
                </a:cubicBezTo>
                <a:cubicBezTo>
                  <a:pt x="1032" y="28"/>
                  <a:pt x="1032" y="28"/>
                  <a:pt x="1032" y="28"/>
                </a:cubicBezTo>
                <a:cubicBezTo>
                  <a:pt x="1032" y="21"/>
                  <a:pt x="1038" y="18"/>
                  <a:pt x="1044" y="18"/>
                </a:cubicBezTo>
                <a:cubicBezTo>
                  <a:pt x="1052" y="18"/>
                  <a:pt x="1056" y="21"/>
                  <a:pt x="1056" y="29"/>
                </a:cubicBezTo>
                <a:cubicBezTo>
                  <a:pt x="1056" y="54"/>
                  <a:pt x="1056" y="54"/>
                  <a:pt x="1056" y="54"/>
                </a:cubicBezTo>
                <a:lnTo>
                  <a:pt x="1051" y="54"/>
                </a:lnTo>
                <a:close/>
                <a:moveTo>
                  <a:pt x="1048" y="38"/>
                </a:moveTo>
                <a:cubicBezTo>
                  <a:pt x="1044" y="38"/>
                  <a:pt x="1037" y="40"/>
                  <a:pt x="1037" y="45"/>
                </a:cubicBezTo>
                <a:cubicBezTo>
                  <a:pt x="1037" y="48"/>
                  <a:pt x="1039" y="50"/>
                  <a:pt x="1041" y="50"/>
                </a:cubicBezTo>
                <a:cubicBezTo>
                  <a:pt x="1045" y="50"/>
                  <a:pt x="1048" y="48"/>
                  <a:pt x="1050" y="45"/>
                </a:cubicBezTo>
                <a:cubicBezTo>
                  <a:pt x="1051" y="42"/>
                  <a:pt x="1051" y="41"/>
                  <a:pt x="1051" y="38"/>
                </a:cubicBezTo>
                <a:lnTo>
                  <a:pt x="1048" y="38"/>
                </a:lnTo>
                <a:close/>
                <a:moveTo>
                  <a:pt x="1084" y="54"/>
                </a:moveTo>
                <a:cubicBezTo>
                  <a:pt x="1082" y="55"/>
                  <a:pt x="1081" y="55"/>
                  <a:pt x="1079" y="55"/>
                </a:cubicBezTo>
                <a:cubicBezTo>
                  <a:pt x="1073" y="55"/>
                  <a:pt x="1070" y="52"/>
                  <a:pt x="1070" y="46"/>
                </a:cubicBezTo>
                <a:cubicBezTo>
                  <a:pt x="1070" y="23"/>
                  <a:pt x="1070" y="23"/>
                  <a:pt x="1070" y="23"/>
                </a:cubicBezTo>
                <a:cubicBezTo>
                  <a:pt x="1064" y="23"/>
                  <a:pt x="1064" y="23"/>
                  <a:pt x="1064" y="23"/>
                </a:cubicBezTo>
                <a:cubicBezTo>
                  <a:pt x="1064" y="19"/>
                  <a:pt x="1064" y="19"/>
                  <a:pt x="1064" y="19"/>
                </a:cubicBezTo>
                <a:cubicBezTo>
                  <a:pt x="1070" y="19"/>
                  <a:pt x="1070" y="19"/>
                  <a:pt x="1070" y="19"/>
                </a:cubicBezTo>
                <a:cubicBezTo>
                  <a:pt x="1070" y="10"/>
                  <a:pt x="1070" y="10"/>
                  <a:pt x="1070" y="10"/>
                </a:cubicBezTo>
                <a:cubicBezTo>
                  <a:pt x="1075" y="7"/>
                  <a:pt x="1075" y="7"/>
                  <a:pt x="1075" y="7"/>
                </a:cubicBezTo>
                <a:cubicBezTo>
                  <a:pt x="1075" y="19"/>
                  <a:pt x="1075" y="19"/>
                  <a:pt x="1075" y="19"/>
                </a:cubicBezTo>
                <a:cubicBezTo>
                  <a:pt x="1084" y="19"/>
                  <a:pt x="1084" y="19"/>
                  <a:pt x="1084" y="19"/>
                </a:cubicBezTo>
                <a:cubicBezTo>
                  <a:pt x="1084" y="23"/>
                  <a:pt x="1084" y="23"/>
                  <a:pt x="1084" y="23"/>
                </a:cubicBezTo>
                <a:cubicBezTo>
                  <a:pt x="1075" y="23"/>
                  <a:pt x="1075" y="23"/>
                  <a:pt x="1075" y="23"/>
                </a:cubicBezTo>
                <a:cubicBezTo>
                  <a:pt x="1075" y="45"/>
                  <a:pt x="1075" y="45"/>
                  <a:pt x="1075" y="45"/>
                </a:cubicBezTo>
                <a:cubicBezTo>
                  <a:pt x="1075" y="48"/>
                  <a:pt x="1076" y="50"/>
                  <a:pt x="1080" y="50"/>
                </a:cubicBezTo>
                <a:cubicBezTo>
                  <a:pt x="1082" y="50"/>
                  <a:pt x="1082" y="50"/>
                  <a:pt x="1084" y="50"/>
                </a:cubicBezTo>
                <a:lnTo>
                  <a:pt x="1084" y="54"/>
                </a:lnTo>
                <a:close/>
                <a:moveTo>
                  <a:pt x="1091" y="9"/>
                </a:moveTo>
                <a:cubicBezTo>
                  <a:pt x="1091" y="3"/>
                  <a:pt x="1091" y="3"/>
                  <a:pt x="1091" y="3"/>
                </a:cubicBezTo>
                <a:cubicBezTo>
                  <a:pt x="1097" y="3"/>
                  <a:pt x="1097" y="3"/>
                  <a:pt x="1097" y="3"/>
                </a:cubicBezTo>
                <a:cubicBezTo>
                  <a:pt x="1097" y="9"/>
                  <a:pt x="1097" y="9"/>
                  <a:pt x="1097" y="9"/>
                </a:cubicBezTo>
                <a:lnTo>
                  <a:pt x="1091" y="9"/>
                </a:lnTo>
                <a:close/>
                <a:moveTo>
                  <a:pt x="1091" y="54"/>
                </a:moveTo>
                <a:cubicBezTo>
                  <a:pt x="1091" y="19"/>
                  <a:pt x="1091" y="19"/>
                  <a:pt x="1091" y="19"/>
                </a:cubicBezTo>
                <a:cubicBezTo>
                  <a:pt x="1096" y="19"/>
                  <a:pt x="1096" y="19"/>
                  <a:pt x="1096" y="19"/>
                </a:cubicBezTo>
                <a:cubicBezTo>
                  <a:pt x="1096" y="54"/>
                  <a:pt x="1096" y="54"/>
                  <a:pt x="1096" y="54"/>
                </a:cubicBezTo>
                <a:lnTo>
                  <a:pt x="1091" y="54"/>
                </a:lnTo>
                <a:close/>
                <a:moveTo>
                  <a:pt x="1106" y="36"/>
                </a:moveTo>
                <a:cubicBezTo>
                  <a:pt x="1106" y="27"/>
                  <a:pt x="1109" y="18"/>
                  <a:pt x="1120" y="18"/>
                </a:cubicBezTo>
                <a:cubicBezTo>
                  <a:pt x="1131" y="18"/>
                  <a:pt x="1134" y="27"/>
                  <a:pt x="1134" y="36"/>
                </a:cubicBezTo>
                <a:cubicBezTo>
                  <a:pt x="1134" y="46"/>
                  <a:pt x="1131" y="55"/>
                  <a:pt x="1120" y="55"/>
                </a:cubicBezTo>
                <a:cubicBezTo>
                  <a:pt x="1109" y="55"/>
                  <a:pt x="1106" y="46"/>
                  <a:pt x="1106" y="36"/>
                </a:cubicBezTo>
                <a:close/>
                <a:moveTo>
                  <a:pt x="1129" y="36"/>
                </a:moveTo>
                <a:cubicBezTo>
                  <a:pt x="1129" y="31"/>
                  <a:pt x="1127" y="22"/>
                  <a:pt x="1120" y="22"/>
                </a:cubicBezTo>
                <a:cubicBezTo>
                  <a:pt x="1113" y="22"/>
                  <a:pt x="1111" y="31"/>
                  <a:pt x="1111" y="36"/>
                </a:cubicBezTo>
                <a:cubicBezTo>
                  <a:pt x="1111" y="42"/>
                  <a:pt x="1113" y="50"/>
                  <a:pt x="1120" y="50"/>
                </a:cubicBezTo>
                <a:cubicBezTo>
                  <a:pt x="1127" y="50"/>
                  <a:pt x="1129" y="42"/>
                  <a:pt x="1129" y="36"/>
                </a:cubicBezTo>
                <a:close/>
                <a:moveTo>
                  <a:pt x="1163" y="54"/>
                </a:moveTo>
                <a:cubicBezTo>
                  <a:pt x="1163" y="34"/>
                  <a:pt x="1163" y="34"/>
                  <a:pt x="1163" y="34"/>
                </a:cubicBezTo>
                <a:cubicBezTo>
                  <a:pt x="1163" y="30"/>
                  <a:pt x="1164" y="23"/>
                  <a:pt x="1158" y="23"/>
                </a:cubicBezTo>
                <a:cubicBezTo>
                  <a:pt x="1151" y="23"/>
                  <a:pt x="1148" y="34"/>
                  <a:pt x="1148" y="39"/>
                </a:cubicBezTo>
                <a:cubicBezTo>
                  <a:pt x="1148" y="54"/>
                  <a:pt x="1148" y="54"/>
                  <a:pt x="1148" y="54"/>
                </a:cubicBezTo>
                <a:cubicBezTo>
                  <a:pt x="1143" y="54"/>
                  <a:pt x="1143" y="54"/>
                  <a:pt x="1143" y="54"/>
                </a:cubicBezTo>
                <a:cubicBezTo>
                  <a:pt x="1143" y="19"/>
                  <a:pt x="1143" y="19"/>
                  <a:pt x="1143" y="19"/>
                </a:cubicBezTo>
                <a:cubicBezTo>
                  <a:pt x="1148" y="19"/>
                  <a:pt x="1148" y="19"/>
                  <a:pt x="1148" y="19"/>
                </a:cubicBezTo>
                <a:cubicBezTo>
                  <a:pt x="1148" y="27"/>
                  <a:pt x="1148" y="27"/>
                  <a:pt x="1148" y="27"/>
                </a:cubicBezTo>
                <a:cubicBezTo>
                  <a:pt x="1148" y="27"/>
                  <a:pt x="1148" y="27"/>
                  <a:pt x="1148" y="27"/>
                </a:cubicBezTo>
                <a:cubicBezTo>
                  <a:pt x="1150" y="21"/>
                  <a:pt x="1153" y="18"/>
                  <a:pt x="1159" y="18"/>
                </a:cubicBezTo>
                <a:cubicBezTo>
                  <a:pt x="1165" y="18"/>
                  <a:pt x="1168" y="23"/>
                  <a:pt x="1168" y="29"/>
                </a:cubicBezTo>
                <a:cubicBezTo>
                  <a:pt x="1168" y="54"/>
                  <a:pt x="1168" y="54"/>
                  <a:pt x="1168" y="54"/>
                </a:cubicBezTo>
                <a:lnTo>
                  <a:pt x="1163" y="54"/>
                </a:lnTo>
                <a:close/>
                <a:moveTo>
                  <a:pt x="1176" y="49"/>
                </a:moveTo>
                <a:cubicBezTo>
                  <a:pt x="1179" y="50"/>
                  <a:pt x="1182" y="50"/>
                  <a:pt x="1185" y="50"/>
                </a:cubicBezTo>
                <a:cubicBezTo>
                  <a:pt x="1189" y="50"/>
                  <a:pt x="1194" y="49"/>
                  <a:pt x="1194" y="45"/>
                </a:cubicBezTo>
                <a:cubicBezTo>
                  <a:pt x="1194" y="41"/>
                  <a:pt x="1190" y="40"/>
                  <a:pt x="1187" y="38"/>
                </a:cubicBezTo>
                <a:cubicBezTo>
                  <a:pt x="1184" y="37"/>
                  <a:pt x="1184" y="37"/>
                  <a:pt x="1184" y="37"/>
                </a:cubicBezTo>
                <a:cubicBezTo>
                  <a:pt x="1180" y="35"/>
                  <a:pt x="1176" y="33"/>
                  <a:pt x="1176" y="27"/>
                </a:cubicBezTo>
                <a:cubicBezTo>
                  <a:pt x="1176" y="20"/>
                  <a:pt x="1182" y="18"/>
                  <a:pt x="1188" y="18"/>
                </a:cubicBezTo>
                <a:cubicBezTo>
                  <a:pt x="1191" y="18"/>
                  <a:pt x="1194" y="18"/>
                  <a:pt x="1197" y="19"/>
                </a:cubicBezTo>
                <a:cubicBezTo>
                  <a:pt x="1197" y="24"/>
                  <a:pt x="1197" y="24"/>
                  <a:pt x="1197" y="24"/>
                </a:cubicBezTo>
                <a:cubicBezTo>
                  <a:pt x="1194" y="23"/>
                  <a:pt x="1191" y="22"/>
                  <a:pt x="1188" y="22"/>
                </a:cubicBezTo>
                <a:cubicBezTo>
                  <a:pt x="1186" y="22"/>
                  <a:pt x="1181" y="23"/>
                  <a:pt x="1181" y="27"/>
                </a:cubicBezTo>
                <a:cubicBezTo>
                  <a:pt x="1181" y="30"/>
                  <a:pt x="1185" y="31"/>
                  <a:pt x="1188" y="32"/>
                </a:cubicBezTo>
                <a:cubicBezTo>
                  <a:pt x="1191" y="34"/>
                  <a:pt x="1191" y="34"/>
                  <a:pt x="1191" y="34"/>
                </a:cubicBezTo>
                <a:cubicBezTo>
                  <a:pt x="1195" y="37"/>
                  <a:pt x="1199" y="38"/>
                  <a:pt x="1199" y="44"/>
                </a:cubicBezTo>
                <a:cubicBezTo>
                  <a:pt x="1199" y="52"/>
                  <a:pt x="1193" y="55"/>
                  <a:pt x="1186" y="55"/>
                </a:cubicBezTo>
                <a:cubicBezTo>
                  <a:pt x="1182" y="55"/>
                  <a:pt x="1179" y="54"/>
                  <a:pt x="1176" y="53"/>
                </a:cubicBezTo>
                <a:lnTo>
                  <a:pt x="1176"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nvGrpSpPr>
          <p:cNvPr id="6" name="Group 5"/>
          <p:cNvGrpSpPr/>
          <p:nvPr userDrawn="1"/>
        </p:nvGrpSpPr>
        <p:grpSpPr>
          <a:xfrm>
            <a:off x="609603" y="420673"/>
            <a:ext cx="2910215" cy="633434"/>
            <a:chOff x="457202" y="420673"/>
            <a:chExt cx="2182661" cy="633434"/>
          </a:xfrm>
        </p:grpSpPr>
        <p:sp>
          <p:nvSpPr>
            <p:cNvPr id="5"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18"/>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 name="Title 1"/>
          <p:cNvSpPr>
            <a:spLocks noGrp="1"/>
          </p:cNvSpPr>
          <p:nvPr userDrawn="1">
            <p:ph type="ctrTitle" hasCustomPrompt="1"/>
          </p:nvPr>
        </p:nvSpPr>
        <p:spPr>
          <a:xfrm>
            <a:off x="609603" y="1599031"/>
            <a:ext cx="5344581" cy="996950"/>
          </a:xfrm>
          <a:prstGeom prst="rect">
            <a:avLst/>
          </a:prstGeom>
        </p:spPr>
        <p:txBody>
          <a:bodyPr lIns="0" tIns="0" anchor="b" anchorCtr="0">
            <a:noAutofit/>
          </a:bodyPr>
          <a:lstStyle>
            <a:lvl1pPr algn="l">
              <a:lnSpc>
                <a:spcPct val="100000"/>
              </a:lnSpc>
              <a:defRPr sz="3600" b="0" spc="0" baseline="0">
                <a:solidFill>
                  <a:schemeClr val="tx1"/>
                </a:solidFill>
                <a:latin typeface="+mj-lt"/>
                <a:cs typeface="Arial" pitchFamily="34" charset="0"/>
              </a:defRPr>
            </a:lvl1pPr>
          </a:lstStyle>
          <a:p>
            <a:r>
              <a:rPr lang="en-US" dirty="0"/>
              <a:t>Click to edit Master title style </a:t>
            </a:r>
            <a:endParaRPr lang="en-GB" dirty="0"/>
          </a:p>
        </p:txBody>
      </p:sp>
      <p:sp>
        <p:nvSpPr>
          <p:cNvPr id="33" name="Text Placeholder 32"/>
          <p:cNvSpPr>
            <a:spLocks noGrp="1"/>
          </p:cNvSpPr>
          <p:nvPr userDrawn="1">
            <p:ph type="body" sz="quarter" idx="10"/>
          </p:nvPr>
        </p:nvSpPr>
        <p:spPr>
          <a:xfrm>
            <a:off x="609602" y="2669757"/>
            <a:ext cx="5344581" cy="467562"/>
          </a:xfrm>
          <a:prstGeom prst="rect">
            <a:avLst/>
          </a:prstGeo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cxnSp>
        <p:nvCxnSpPr>
          <p:cNvPr id="22" name="Straight Connector 21"/>
          <p:cNvCxnSpPr/>
          <p:nvPr userDrawn="1"/>
        </p:nvCxnSpPr>
        <p:spPr>
          <a:xfrm>
            <a:off x="607485" y="1159234"/>
            <a:ext cx="115845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7638648" y="2398139"/>
            <a:ext cx="4099192" cy="2061722"/>
            <a:chOff x="5728986" y="1472516"/>
            <a:chExt cx="3074394" cy="2061722"/>
          </a:xfrm>
        </p:grpSpPr>
        <p:sp>
          <p:nvSpPr>
            <p:cNvPr id="13" name="Freeform 12"/>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11"/>
          </p:nvPr>
        </p:nvSpPr>
        <p:spPr/>
        <p:txBody>
          <a:bodyPr/>
          <a:lstStyle/>
          <a:p>
            <a:r>
              <a:rPr lang="en-AU"/>
              <a:t>Copyright © 2014 Accenture  All rights reserved.</a:t>
            </a:r>
            <a:endParaRPr lang="en-AU" dirty="0"/>
          </a:p>
        </p:txBody>
      </p:sp>
    </p:spTree>
    <p:extLst>
      <p:ext uri="{BB962C8B-B14F-4D97-AF65-F5344CB8AC3E}">
        <p14:creationId xmlns:p14="http://schemas.microsoft.com/office/powerpoint/2010/main" val="2299744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
        <p:nvSpPr>
          <p:cNvPr id="10" name="Content Placeholder 9"/>
          <p:cNvSpPr>
            <a:spLocks noGrp="1"/>
          </p:cNvSpPr>
          <p:nvPr>
            <p:ph sz="quarter" idx="14"/>
          </p:nvPr>
        </p:nvSpPr>
        <p:spPr>
          <a:xfrm>
            <a:off x="607485" y="1195200"/>
            <a:ext cx="10977033" cy="529301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3" name="Footer Placeholder 2"/>
          <p:cNvSpPr>
            <a:spLocks noGrp="1"/>
          </p:cNvSpPr>
          <p:nvPr>
            <p:ph type="ftr" sz="quarter" idx="15"/>
          </p:nvPr>
        </p:nvSpPr>
        <p:spPr/>
        <p:txBody>
          <a:bodyPr/>
          <a:lstStyle/>
          <a:p>
            <a:r>
              <a:rPr lang="en-AU"/>
              <a:t>Copyright © 2014 Accenture  All rights reserved.</a:t>
            </a:r>
            <a:endParaRPr lang="en-AU"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10853807" y="6575425"/>
            <a:ext cx="730711"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3"/>
          </p:nvPr>
        </p:nvSpPr>
        <p:spPr>
          <a:xfrm>
            <a:off x="607485" y="6575425"/>
            <a:ext cx="5414433"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AU" dirty="0"/>
              <a:t>Copyright © 2014 Accenture  All rights reserved.</a:t>
            </a:r>
          </a:p>
        </p:txBody>
      </p:sp>
      <p:cxnSp>
        <p:nvCxnSpPr>
          <p:cNvPr id="8" name="Straight Connector 7"/>
          <p:cNvCxnSpPr/>
          <p:nvPr userDrawn="1"/>
        </p:nvCxnSpPr>
        <p:spPr>
          <a:xfrm>
            <a:off x="607485" y="1159234"/>
            <a:ext cx="1158451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17" r:id="rId1"/>
    <p:sldLayoutId id="2147483722" r:id="rId2"/>
    <p:sldLayoutId id="2147483721" r:id="rId3"/>
  </p:sldLayoutIdLst>
  <p:hf hdr="0" dt="0"/>
  <p:txStyles>
    <p:title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0853807" y="6737782"/>
            <a:ext cx="730711" cy="128588"/>
          </a:xfrm>
        </p:spPr>
        <p:txBody>
          <a:bodyPr/>
          <a:lstStyle/>
          <a:p>
            <a:pPr>
              <a:defRPr/>
            </a:pPr>
            <a:fld id="{90CBDC3A-D49F-4631-A8C7-55D59B33E5FA}" type="slidenum">
              <a:rPr lang="en-US" smtClean="0"/>
              <a:pPr>
                <a:defRPr/>
              </a:pPr>
              <a:t>1</a:t>
            </a:fld>
            <a:endParaRPr lang="en-US" dirty="0"/>
          </a:p>
        </p:txBody>
      </p:sp>
      <p:sp>
        <p:nvSpPr>
          <p:cNvPr id="6" name="Text Box 4"/>
          <p:cNvSpPr txBox="1">
            <a:spLocks noChangeArrowheads="1"/>
          </p:cNvSpPr>
          <p:nvPr/>
        </p:nvSpPr>
        <p:spPr bwMode="auto">
          <a:xfrm>
            <a:off x="354117" y="1180736"/>
            <a:ext cx="5851491" cy="2166876"/>
          </a:xfrm>
          <a:prstGeom prst="rect">
            <a:avLst/>
          </a:prstGeom>
          <a:noFill/>
          <a:ln w="12700" algn="ctr">
            <a:solidFill>
              <a:schemeClr val="tx1"/>
            </a:solidFill>
            <a:miter lim="800000"/>
            <a:headEnd/>
            <a:tailEnd/>
          </a:ln>
        </p:spPr>
        <p:txBody>
          <a:bodyPr lIns="72000" tIns="144000" rIns="72000" bIns="36000"/>
          <a:lstStyle/>
          <a:p>
            <a:r>
              <a:rPr lang="en-GB" sz="1400" dirty="0">
                <a:latin typeface="Arial" panose="020B0604020202020204" pitchFamily="34" charset="0"/>
                <a:cs typeface="Arial" panose="020B0604020202020204" pitchFamily="34" charset="0"/>
              </a:rPr>
              <a:t>Created a </a:t>
            </a:r>
            <a:r>
              <a:rPr lang="en-GB" sz="1400" b="1" dirty="0">
                <a:latin typeface="Arial" panose="020B0604020202020204" pitchFamily="34" charset="0"/>
                <a:cs typeface="Arial" panose="020B0604020202020204" pitchFamily="34" charset="0"/>
              </a:rPr>
              <a:t>Scalable Event driven Non blocking Microservice based application </a:t>
            </a:r>
            <a:r>
              <a:rPr lang="en-GB" sz="1400" dirty="0">
                <a:latin typeface="Arial" panose="020B0604020202020204" pitchFamily="34" charset="0"/>
                <a:cs typeface="Arial" panose="020B0604020202020204" pitchFamily="34" charset="0"/>
              </a:rPr>
              <a:t>leveraging Reactive Kafka Producer and Consumer Microservices.</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This architecture handles increasing traffic and workload without having to scale the entire system.</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Reactive web servers (Netty) can handle large numbers of concurrent requests because of the non-blocking I/O model.</a:t>
            </a:r>
          </a:p>
        </p:txBody>
      </p:sp>
      <p:sp>
        <p:nvSpPr>
          <p:cNvPr id="8" name="Text Box 4"/>
          <p:cNvSpPr txBox="1">
            <a:spLocks noChangeArrowheads="1"/>
          </p:cNvSpPr>
          <p:nvPr/>
        </p:nvSpPr>
        <p:spPr bwMode="auto">
          <a:xfrm>
            <a:off x="343708" y="3731302"/>
            <a:ext cx="5861900" cy="3006480"/>
          </a:xfrm>
          <a:prstGeom prst="rect">
            <a:avLst/>
          </a:prstGeom>
          <a:noFill/>
          <a:ln w="12700" algn="ctr">
            <a:solidFill>
              <a:schemeClr val="tx1"/>
            </a:solidFill>
            <a:miter lim="800000"/>
            <a:headEnd/>
            <a:tailEnd/>
          </a:ln>
        </p:spPr>
        <p:txBody>
          <a:bodyPr lIns="72000" tIns="144000" rIns="72000" bIns="36000"/>
          <a:lstStyle/>
          <a:p>
            <a:pPr marL="0" lvl="1" algn="just" eaLnBrk="0" hangingPunct="0">
              <a:spcBef>
                <a:spcPct val="10000"/>
              </a:spcBef>
              <a:buClr>
                <a:srgbClr val="000000"/>
              </a:buClr>
              <a:buSzPct val="100000"/>
            </a:pPr>
            <a:endParaRPr lang="en-US" sz="1050" dirty="0">
              <a:latin typeface="+mj-lt"/>
              <a:ea typeface="Tahoma" panose="020B0604030504040204" pitchFamily="34" charset="0"/>
              <a:cs typeface="Times New Roman" panose="02020603050405020304" pitchFamily="18" charset="0"/>
            </a:endParaRPr>
          </a:p>
        </p:txBody>
      </p:sp>
      <p:sp>
        <p:nvSpPr>
          <p:cNvPr id="9" name="Text Box 4"/>
          <p:cNvSpPr txBox="1">
            <a:spLocks noChangeArrowheads="1"/>
          </p:cNvSpPr>
          <p:nvPr>
            <p:custDataLst>
              <p:tags r:id="rId1"/>
            </p:custDataLst>
          </p:nvPr>
        </p:nvSpPr>
        <p:spPr bwMode="auto">
          <a:xfrm>
            <a:off x="6307411" y="2897776"/>
            <a:ext cx="2736295" cy="833526"/>
          </a:xfrm>
          <a:prstGeom prst="rect">
            <a:avLst/>
          </a:prstGeom>
          <a:noFill/>
          <a:ln w="12700" algn="ctr">
            <a:solidFill>
              <a:schemeClr val="tx1"/>
            </a:solidFill>
            <a:miter lim="800000"/>
            <a:headEnd/>
            <a:tailEnd/>
          </a:ln>
        </p:spPr>
        <p:txBody>
          <a:bodyPr lIns="72000" tIns="144000" rIns="72000" bIns="36000"/>
          <a:lstStyle/>
          <a:p>
            <a:pPr marL="171450" lvl="1" indent="-171450" algn="just" eaLnBrk="0" hangingPunct="0">
              <a:spcBef>
                <a:spcPct val="10000"/>
              </a:spcBef>
              <a:buClr>
                <a:srgbClr val="000000"/>
              </a:buClr>
              <a:buSzPct val="100000"/>
              <a:buFont typeface="Arial" panose="020B0604020202020204" pitchFamily="34" charset="0"/>
              <a:buChar char="•"/>
            </a:pPr>
            <a:r>
              <a:rPr lang="en-US" sz="1400" dirty="0">
                <a:latin typeface="+mj-lt"/>
                <a:ea typeface="Tahoma" panose="020B0604030504040204" pitchFamily="34" charset="0"/>
                <a:cs typeface="Times New Roman" panose="02020603050405020304" pitchFamily="18" charset="0"/>
              </a:rPr>
              <a:t>Spring Reactive (WebFlux)</a:t>
            </a:r>
          </a:p>
          <a:p>
            <a:pPr marL="171450" lvl="1" indent="-171450" algn="just" eaLnBrk="0" hangingPunct="0">
              <a:spcBef>
                <a:spcPct val="10000"/>
              </a:spcBef>
              <a:buClr>
                <a:srgbClr val="000000"/>
              </a:buClr>
              <a:buSzPct val="100000"/>
              <a:buFont typeface="Arial" panose="020B0604020202020204" pitchFamily="34" charset="0"/>
              <a:buChar char="•"/>
            </a:pPr>
            <a:r>
              <a:rPr lang="en-US" sz="1400" dirty="0">
                <a:latin typeface="+mj-lt"/>
                <a:ea typeface="Tahoma" panose="020B0604030504040204" pitchFamily="34" charset="0"/>
                <a:cs typeface="Times New Roman" panose="02020603050405020304" pitchFamily="18" charset="0"/>
              </a:rPr>
              <a:t>Reactor Kafka</a:t>
            </a:r>
          </a:p>
          <a:p>
            <a:pPr marL="171450" lvl="1" indent="-171450" algn="just" eaLnBrk="0" hangingPunct="0">
              <a:spcBef>
                <a:spcPct val="10000"/>
              </a:spcBef>
              <a:buClr>
                <a:srgbClr val="000000"/>
              </a:buClr>
              <a:buSzPct val="100000"/>
              <a:buFont typeface="Arial" panose="020B0604020202020204" pitchFamily="34" charset="0"/>
              <a:buChar char="•"/>
            </a:pPr>
            <a:r>
              <a:rPr lang="en-US" sz="1400" dirty="0">
                <a:latin typeface="+mj-lt"/>
                <a:ea typeface="Tahoma" panose="020B0604030504040204" pitchFamily="34" charset="0"/>
                <a:cs typeface="Times New Roman" panose="02020603050405020304" pitchFamily="18" charset="0"/>
              </a:rPr>
              <a:t>Mongo DB</a:t>
            </a:r>
          </a:p>
        </p:txBody>
      </p:sp>
      <p:sp>
        <p:nvSpPr>
          <p:cNvPr id="13" name="Text Box 4"/>
          <p:cNvSpPr txBox="1">
            <a:spLocks noChangeArrowheads="1"/>
          </p:cNvSpPr>
          <p:nvPr/>
        </p:nvSpPr>
        <p:spPr bwMode="auto">
          <a:xfrm>
            <a:off x="6274986" y="4080896"/>
            <a:ext cx="5612213" cy="2595271"/>
          </a:xfrm>
          <a:prstGeom prst="rect">
            <a:avLst/>
          </a:prstGeom>
          <a:noFill/>
          <a:ln w="12700" algn="ctr">
            <a:solidFill>
              <a:schemeClr val="tx1"/>
            </a:solidFill>
            <a:miter lim="800000"/>
            <a:headEnd/>
            <a:tailEnd/>
          </a:ln>
        </p:spPr>
        <p:txBody>
          <a:bodyPr lIns="72000" tIns="144000" rIns="72000" bIns="36000"/>
          <a:lstStyle/>
          <a:p>
            <a:pPr marL="171450" lvl="1" indent="-171450" algn="just" eaLnBrk="0" hangingPunct="0">
              <a:spcBef>
                <a:spcPct val="10000"/>
              </a:spcBef>
              <a:buClr>
                <a:srgbClr val="000000"/>
              </a:buClr>
              <a:buSzPct val="100000"/>
              <a:buFont typeface="Arial" panose="020B0604020202020204" pitchFamily="34" charset="0"/>
              <a:buChar char="•"/>
            </a:pPr>
            <a:r>
              <a:rPr lang="en-US" sz="1400" dirty="0">
                <a:solidFill>
                  <a:srgbClr val="000000"/>
                </a:solidFill>
                <a:latin typeface="+mj-lt"/>
                <a:cs typeface="Times New Roman" panose="02020603050405020304" pitchFamily="18" charset="0"/>
              </a:rPr>
              <a:t>Reusable Reactive Kafka Producer &amp; Consumer code, can be reused for other similar projects</a:t>
            </a:r>
          </a:p>
          <a:p>
            <a:pPr marL="171450" lvl="1" indent="-171450" algn="just" eaLnBrk="0" hangingPunct="0">
              <a:spcBef>
                <a:spcPct val="10000"/>
              </a:spcBef>
              <a:buClr>
                <a:srgbClr val="000000"/>
              </a:buClr>
              <a:buSzPct val="100000"/>
              <a:buFont typeface="Arial" panose="020B0604020202020204" pitchFamily="34" charset="0"/>
              <a:buChar char="•"/>
            </a:pPr>
            <a:r>
              <a:rPr lang="en-US" sz="1400" dirty="0">
                <a:solidFill>
                  <a:srgbClr val="000000"/>
                </a:solidFill>
                <a:latin typeface="+mj-lt"/>
                <a:cs typeface="Times New Roman" panose="02020603050405020304" pitchFamily="18" charset="0"/>
              </a:rPr>
              <a:t>Reactive MongoDB &amp; Twilio Integration for SMS notifications</a:t>
            </a:r>
          </a:p>
          <a:p>
            <a:pPr marL="171450" lvl="1" indent="-171450" algn="just" eaLnBrk="0" hangingPunct="0">
              <a:spcBef>
                <a:spcPct val="10000"/>
              </a:spcBef>
              <a:buClr>
                <a:srgbClr val="000000"/>
              </a:buClr>
              <a:buSzPct val="100000"/>
              <a:buFont typeface="Arial" panose="020B0604020202020204" pitchFamily="34" charset="0"/>
              <a:buChar char="•"/>
            </a:pPr>
            <a:r>
              <a:rPr lang="en-US" sz="1400" dirty="0">
                <a:solidFill>
                  <a:srgbClr val="000000"/>
                </a:solidFill>
                <a:latin typeface="+mj-lt"/>
                <a:cs typeface="Times New Roman" panose="02020603050405020304" pitchFamily="18" charset="0"/>
              </a:rPr>
              <a:t>Playbook document to speed up developer onboarding to Kafka and Spring Reactive technologies</a:t>
            </a:r>
          </a:p>
          <a:p>
            <a:pPr marL="171450" lvl="1" indent="-171450" algn="just" eaLnBrk="0" hangingPunct="0">
              <a:spcBef>
                <a:spcPct val="10000"/>
              </a:spcBef>
              <a:buClr>
                <a:srgbClr val="000000"/>
              </a:buClr>
              <a:buSzPct val="100000"/>
              <a:buFont typeface="Arial" panose="020B0604020202020204" pitchFamily="34" charset="0"/>
              <a:buChar char="•"/>
            </a:pPr>
            <a:endParaRPr lang="en-US" sz="1400" dirty="0">
              <a:latin typeface="+mj-lt"/>
              <a:ea typeface="Tahoma" panose="020B0604030504040204" pitchFamily="34" charset="0"/>
              <a:cs typeface="Times New Roman" panose="02020603050405020304" pitchFamily="18" charset="0"/>
            </a:endParaRPr>
          </a:p>
        </p:txBody>
      </p:sp>
      <p:sp>
        <p:nvSpPr>
          <p:cNvPr id="14" name="Rectangle 13"/>
          <p:cNvSpPr/>
          <p:nvPr/>
        </p:nvSpPr>
        <p:spPr>
          <a:xfrm>
            <a:off x="6307411" y="3786594"/>
            <a:ext cx="5107990" cy="294302"/>
          </a:xfrm>
          <a:prstGeom prst="rect">
            <a:avLst/>
          </a:prstGeom>
          <a:solidFill>
            <a:schemeClr val="bg1"/>
          </a:solidFill>
          <a:ln>
            <a:noFill/>
          </a:ln>
        </p:spPr>
        <p:txBody>
          <a:bodyPr wrap="square" tIns="36000" rIns="36000" bIns="36000">
            <a:spAutoFit/>
          </a:bodyPr>
          <a:lstStyle/>
          <a:p>
            <a:pPr marL="185738" indent="-185738" eaLnBrk="0" hangingPunct="0">
              <a:lnSpc>
                <a:spcPct val="80000"/>
              </a:lnSpc>
              <a:spcBef>
                <a:spcPct val="10000"/>
              </a:spcBef>
              <a:spcAft>
                <a:spcPct val="10000"/>
              </a:spcAft>
              <a:buClr>
                <a:srgbClr val="000000"/>
              </a:buClr>
            </a:pPr>
            <a:r>
              <a:rPr lang="en-GB" b="1" dirty="0">
                <a:solidFill>
                  <a:srgbClr val="00FF00"/>
                </a:solidFill>
                <a:latin typeface="Arial Black" panose="020B0A04020102020204" pitchFamily="34" charset="0"/>
                <a:cs typeface="Arial" panose="020B0604020202020204" pitchFamily="34" charset="0"/>
              </a:rPr>
              <a:t>What are the key benefits?</a:t>
            </a:r>
          </a:p>
        </p:txBody>
      </p:sp>
      <p:sp>
        <p:nvSpPr>
          <p:cNvPr id="15" name="Text Box 4"/>
          <p:cNvSpPr txBox="1">
            <a:spLocks noChangeArrowheads="1"/>
          </p:cNvSpPr>
          <p:nvPr/>
        </p:nvSpPr>
        <p:spPr bwMode="auto">
          <a:xfrm>
            <a:off x="6310424" y="1180737"/>
            <a:ext cx="5576775" cy="1312154"/>
          </a:xfrm>
          <a:prstGeom prst="rect">
            <a:avLst/>
          </a:prstGeom>
          <a:noFill/>
          <a:ln w="12700" algn="ctr">
            <a:solidFill>
              <a:schemeClr val="tx1"/>
            </a:solidFill>
            <a:miter lim="800000"/>
            <a:headEnd/>
            <a:tailEnd/>
          </a:ln>
        </p:spPr>
        <p:txBody>
          <a:bodyPr lIns="72000" tIns="144000" rIns="72000" bIns="36000"/>
          <a:lstStyle/>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mj-lt"/>
                <a:ea typeface="+mn-ea"/>
                <a:cs typeface="Times New Roman" panose="02020603050405020304" pitchFamily="18" charset="0"/>
              </a:rPr>
              <a:t>Playbook has been created which documents technologies and challenges faced.</a:t>
            </a:r>
          </a:p>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mj-lt"/>
                <a:ea typeface="+mn-ea"/>
                <a:cs typeface="Times New Roman" panose="02020603050405020304" pitchFamily="18" charset="0"/>
              </a:rPr>
              <a:t>Event Driven Pattern implemented using Reactive Kafka, code can be used as a template.</a:t>
            </a:r>
          </a:p>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lvl="1" algn="just" eaLnBrk="0" hangingPunct="0">
              <a:spcBef>
                <a:spcPct val="10000"/>
              </a:spcBef>
              <a:buClr>
                <a:srgbClr val="000000"/>
              </a:buClr>
              <a:buSzPct val="100000"/>
            </a:pPr>
            <a:endParaRPr lang="en-US" sz="1100" dirty="0">
              <a:latin typeface="Arial" panose="020B0604020202020204" pitchFamily="34" charset="0"/>
              <a:cs typeface="Arial" panose="020B0604020202020204" pitchFamily="34" charset="0"/>
            </a:endParaRPr>
          </a:p>
        </p:txBody>
      </p:sp>
      <p:sp>
        <p:nvSpPr>
          <p:cNvPr id="16" name="Rectangle 15"/>
          <p:cNvSpPr/>
          <p:nvPr/>
        </p:nvSpPr>
        <p:spPr>
          <a:xfrm>
            <a:off x="354117" y="3389613"/>
            <a:ext cx="5410951" cy="299688"/>
          </a:xfrm>
          <a:prstGeom prst="rect">
            <a:avLst/>
          </a:prstGeom>
          <a:solidFill>
            <a:schemeClr val="bg1"/>
          </a:solidFill>
          <a:ln>
            <a:noFill/>
          </a:ln>
        </p:spPr>
        <p:txBody>
          <a:bodyPr wrap="square" tIns="36000" rIns="36000" bIns="36000">
            <a:spAutoFit/>
          </a:bodyPr>
          <a:lstStyle/>
          <a:p>
            <a:pPr marL="185738" indent="-185738" eaLnBrk="0" hangingPunct="0">
              <a:lnSpc>
                <a:spcPct val="80000"/>
              </a:lnSpc>
              <a:spcBef>
                <a:spcPct val="10000"/>
              </a:spcBef>
              <a:spcAft>
                <a:spcPct val="10000"/>
              </a:spcAft>
              <a:buClr>
                <a:srgbClr val="000000"/>
              </a:buClr>
            </a:pPr>
            <a:r>
              <a:rPr lang="en-US" b="1" dirty="0">
                <a:solidFill>
                  <a:srgbClr val="00FF00"/>
                </a:solidFill>
                <a:latin typeface="Arial Black" panose="020B0A04020102020204" pitchFamily="34" charset="0"/>
                <a:cs typeface="Arial" panose="020B0604020202020204" pitchFamily="34" charset="0"/>
              </a:rPr>
              <a:t>How are we Solving?</a:t>
            </a:r>
            <a:endParaRPr lang="en-GB" b="1" dirty="0">
              <a:solidFill>
                <a:srgbClr val="00FF00"/>
              </a:solidFill>
              <a:latin typeface="Arial Black" panose="020B0A04020102020204" pitchFamily="34" charset="0"/>
              <a:cs typeface="Arial" panose="020B0604020202020204" pitchFamily="34" charset="0"/>
            </a:endParaRPr>
          </a:p>
        </p:txBody>
      </p:sp>
      <p:sp>
        <p:nvSpPr>
          <p:cNvPr id="17" name="TextBox 16"/>
          <p:cNvSpPr txBox="1"/>
          <p:nvPr/>
        </p:nvSpPr>
        <p:spPr>
          <a:xfrm>
            <a:off x="343708" y="877969"/>
            <a:ext cx="5410951" cy="226985"/>
          </a:xfrm>
          <a:prstGeom prst="rect">
            <a:avLst/>
          </a:prstGeom>
          <a:solidFill>
            <a:schemeClr val="bg1"/>
          </a:solidFill>
          <a:ln>
            <a:noFill/>
          </a:ln>
        </p:spPr>
        <p:txBody>
          <a:bodyPr wrap="square" lIns="0" tIns="0" rIns="0" bIns="0" rtlCol="0">
            <a:spAutoFit/>
          </a:bodyPr>
          <a:lstStyle/>
          <a:p>
            <a:pPr marL="185738" indent="-185738" eaLnBrk="0" hangingPunct="0">
              <a:lnSpc>
                <a:spcPct val="80000"/>
              </a:lnSpc>
              <a:spcBef>
                <a:spcPct val="10000"/>
              </a:spcBef>
              <a:spcAft>
                <a:spcPct val="10000"/>
              </a:spcAft>
              <a:buClr>
                <a:srgbClr val="000000"/>
              </a:buClr>
            </a:pPr>
            <a:r>
              <a:rPr lang="en-US" b="1" dirty="0">
                <a:solidFill>
                  <a:srgbClr val="00FF00"/>
                </a:solidFill>
                <a:latin typeface="Arial Black" panose="020B0A04020102020204" pitchFamily="34" charset="0"/>
                <a:cs typeface="Arial" panose="020B0604020202020204" pitchFamily="34" charset="0"/>
              </a:rPr>
              <a:t> What are we Solving</a:t>
            </a:r>
          </a:p>
        </p:txBody>
      </p:sp>
      <p:graphicFrame>
        <p:nvGraphicFramePr>
          <p:cNvPr id="20" name="Table 19"/>
          <p:cNvGraphicFramePr>
            <a:graphicFrameLocks noGrp="1"/>
          </p:cNvGraphicFramePr>
          <p:nvPr/>
        </p:nvGraphicFramePr>
        <p:xfrm>
          <a:off x="343708" y="159371"/>
          <a:ext cx="11575916" cy="609600"/>
        </p:xfrm>
        <a:graphic>
          <a:graphicData uri="http://schemas.openxmlformats.org/drawingml/2006/table">
            <a:tbl>
              <a:tblPr firstRow="1" bandRow="1">
                <a:tableStyleId>{21E4AEA4-8DFA-4A89-87EB-49C32662AFE0}</a:tableStyleId>
              </a:tblPr>
              <a:tblGrid>
                <a:gridCol w="5116981">
                  <a:extLst>
                    <a:ext uri="{9D8B030D-6E8A-4147-A177-3AD203B41FA5}">
                      <a16:colId xmlns:a16="http://schemas.microsoft.com/office/drawing/2014/main" val="20000"/>
                    </a:ext>
                  </a:extLst>
                </a:gridCol>
                <a:gridCol w="6458935">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Black" panose="020B0A04020102020204" pitchFamily="34" charset="0"/>
                        </a:rPr>
                        <a:t>Hot House Name: Spring Reactive &amp; Kafka</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Black" panose="020B0A04020102020204" pitchFamily="34" charset="0"/>
                        </a:rPr>
                        <a:t>Title: </a:t>
                      </a:r>
                      <a:r>
                        <a:rPr lang="en-US" sz="1200" b="1" dirty="0">
                          <a:solidFill>
                            <a:schemeClr val="tx1"/>
                          </a:solidFill>
                          <a:latin typeface="Arial Black" panose="020B0A04020102020204" pitchFamily="34" charset="0"/>
                        </a:rPr>
                        <a:t>Event Driven Microservices using Spring Reactive and Kafka</a:t>
                      </a:r>
                      <a:endParaRPr lang="en-US" sz="1400" dirty="0">
                        <a:solidFill>
                          <a:schemeClr val="tx1"/>
                        </a:solidFill>
                        <a:latin typeface="Arial Black" panose="020B0A040201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39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Arial Black" panose="020B0A04020102020204" pitchFamily="34" charset="0"/>
                        </a:rPr>
                        <a:t>MU Name: GAMA</a:t>
                      </a:r>
                      <a:endParaRPr lang="en-US" sz="1400" b="1" dirty="0">
                        <a:solidFill>
                          <a:srgbClr val="FF0000"/>
                        </a:solidFill>
                        <a:latin typeface="Arial Black" panose="020B0A040201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tx1"/>
                          </a:solidFill>
                          <a:latin typeface="Arial Black" panose="020B0A04020102020204" pitchFamily="34" charset="0"/>
                        </a:rPr>
                        <a:t>Category: Playbook, Reusable Cod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8" name="Rectangle 17"/>
          <p:cNvSpPr/>
          <p:nvPr/>
        </p:nvSpPr>
        <p:spPr>
          <a:xfrm>
            <a:off x="6307411" y="2548182"/>
            <a:ext cx="5132739" cy="349702"/>
          </a:xfrm>
          <a:prstGeom prst="rect">
            <a:avLst/>
          </a:prstGeom>
          <a:solidFill>
            <a:schemeClr val="bg1"/>
          </a:solidFill>
          <a:ln>
            <a:noFill/>
          </a:ln>
        </p:spPr>
        <p:txBody>
          <a:bodyPr wrap="square" tIns="36000" rIns="36000" bIns="36000">
            <a:spAutoFit/>
          </a:bodyPr>
          <a:lstStyle/>
          <a:p>
            <a:pPr marL="185738" indent="-185738" eaLnBrk="0" hangingPunct="0">
              <a:spcBef>
                <a:spcPct val="10000"/>
              </a:spcBef>
              <a:spcAft>
                <a:spcPct val="10000"/>
              </a:spcAft>
              <a:buClr>
                <a:srgbClr val="000000"/>
              </a:buClr>
            </a:pPr>
            <a:r>
              <a:rPr lang="en-GB" b="1" dirty="0">
                <a:solidFill>
                  <a:srgbClr val="00FF00"/>
                </a:solidFill>
                <a:latin typeface="Arial Black" panose="020B0A04020102020204" pitchFamily="34" charset="0"/>
                <a:cs typeface="Arial" panose="020B0604020202020204" pitchFamily="34" charset="0"/>
              </a:rPr>
              <a:t>Tech Stack </a:t>
            </a:r>
          </a:p>
        </p:txBody>
      </p:sp>
      <p:sp>
        <p:nvSpPr>
          <p:cNvPr id="12" name="Rectangle 11"/>
          <p:cNvSpPr/>
          <p:nvPr/>
        </p:nvSpPr>
        <p:spPr>
          <a:xfrm>
            <a:off x="6307411" y="812734"/>
            <a:ext cx="5429607" cy="349702"/>
          </a:xfrm>
          <a:prstGeom prst="rect">
            <a:avLst/>
          </a:prstGeom>
          <a:solidFill>
            <a:schemeClr val="bg1"/>
          </a:solidFill>
          <a:ln>
            <a:noFill/>
          </a:ln>
        </p:spPr>
        <p:txBody>
          <a:bodyPr wrap="square" tIns="36000" rIns="36000" bIns="36000">
            <a:spAutoFit/>
          </a:bodyPr>
          <a:lstStyle/>
          <a:p>
            <a:pPr marL="185738" indent="-185738" eaLnBrk="0" hangingPunct="0">
              <a:spcBef>
                <a:spcPct val="10000"/>
              </a:spcBef>
              <a:spcAft>
                <a:spcPct val="10000"/>
              </a:spcAft>
              <a:buClr>
                <a:srgbClr val="000000"/>
              </a:buClr>
            </a:pPr>
            <a:r>
              <a:rPr lang="en-GB" b="1" dirty="0">
                <a:solidFill>
                  <a:srgbClr val="00FF00"/>
                </a:solidFill>
                <a:latin typeface="Arial Black" panose="020B0A04020102020204" pitchFamily="34" charset="0"/>
                <a:cs typeface="Arial" panose="020B0604020202020204" pitchFamily="34" charset="0"/>
              </a:rPr>
              <a:t>What is the outcome and How to re-use ?</a:t>
            </a:r>
          </a:p>
        </p:txBody>
      </p:sp>
      <p:sp>
        <p:nvSpPr>
          <p:cNvPr id="3" name="Text Box 4">
            <a:extLst>
              <a:ext uri="{FF2B5EF4-FFF2-40B4-BE49-F238E27FC236}">
                <a16:creationId xmlns:a16="http://schemas.microsoft.com/office/drawing/2014/main" id="{E66E1303-EABC-C256-33B9-56C212EF6DE0}"/>
              </a:ext>
            </a:extLst>
          </p:cNvPr>
          <p:cNvSpPr txBox="1">
            <a:spLocks noChangeArrowheads="1"/>
          </p:cNvSpPr>
          <p:nvPr>
            <p:custDataLst>
              <p:tags r:id="rId2"/>
            </p:custDataLst>
          </p:nvPr>
        </p:nvSpPr>
        <p:spPr bwMode="auto">
          <a:xfrm>
            <a:off x="9043706" y="2904207"/>
            <a:ext cx="2875917" cy="827095"/>
          </a:xfrm>
          <a:prstGeom prst="rect">
            <a:avLst/>
          </a:prstGeom>
          <a:noFill/>
          <a:ln w="12700" algn="ctr">
            <a:solidFill>
              <a:schemeClr val="tx1"/>
            </a:solidFill>
            <a:miter lim="800000"/>
            <a:headEnd/>
            <a:tailEnd/>
          </a:ln>
        </p:spPr>
        <p:txBody>
          <a:bodyPr lIns="72000" tIns="144000" rIns="72000" bIns="36000"/>
          <a:lstStyle/>
          <a:p>
            <a:pPr marL="171450" lvl="1" indent="-171450" algn="just" eaLnBrk="0" hangingPunct="0">
              <a:spcBef>
                <a:spcPct val="10000"/>
              </a:spcBef>
              <a:buClr>
                <a:srgbClr val="000000"/>
              </a:buClr>
              <a:buSzPct val="100000"/>
              <a:buFont typeface="Arial" panose="020B0604020202020204" pitchFamily="34" charset="0"/>
              <a:buChar char="•"/>
            </a:pPr>
            <a:r>
              <a:rPr lang="en-US" sz="1400" dirty="0">
                <a:latin typeface="+mj-lt"/>
                <a:ea typeface="Tahoma" panose="020B0604030504040204" pitchFamily="34" charset="0"/>
                <a:cs typeface="Times New Roman" panose="02020603050405020304" pitchFamily="18" charset="0"/>
              </a:rPr>
              <a:t>Confluent Kafka</a:t>
            </a:r>
          </a:p>
          <a:p>
            <a:pPr marL="171450" lvl="1" indent="-171450" algn="just" eaLnBrk="0" hangingPunct="0">
              <a:spcBef>
                <a:spcPct val="10000"/>
              </a:spcBef>
              <a:buClr>
                <a:srgbClr val="000000"/>
              </a:buClr>
              <a:buSzPct val="100000"/>
              <a:buFont typeface="Arial" panose="020B0604020202020204" pitchFamily="34" charset="0"/>
              <a:buChar char="•"/>
            </a:pPr>
            <a:r>
              <a:rPr lang="en-US" sz="1400" dirty="0">
                <a:latin typeface="+mj-lt"/>
                <a:ea typeface="Tahoma" panose="020B0604030504040204" pitchFamily="34" charset="0"/>
                <a:cs typeface="Times New Roman" panose="02020603050405020304" pitchFamily="18" charset="0"/>
              </a:rPr>
              <a:t>Twilio</a:t>
            </a:r>
          </a:p>
          <a:p>
            <a:pPr marL="0" lvl="1" algn="just" eaLnBrk="0" hangingPunct="0">
              <a:spcBef>
                <a:spcPct val="10000"/>
              </a:spcBef>
              <a:buClr>
                <a:srgbClr val="000000"/>
              </a:buClr>
              <a:buSzPct val="100000"/>
            </a:pPr>
            <a:endParaRPr lang="en-US" sz="1200" dirty="0">
              <a:latin typeface="Times New Roman" panose="02020603050405020304" pitchFamily="18" charset="0"/>
              <a:ea typeface="Tahoma" panose="020B060403050404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4640B3D4-6113-E599-B978-3E5A3FF4D36C}"/>
              </a:ext>
            </a:extLst>
          </p:cNvPr>
          <p:cNvSpPr txBox="1"/>
          <p:nvPr/>
        </p:nvSpPr>
        <p:spPr>
          <a:xfrm>
            <a:off x="428349" y="3824259"/>
            <a:ext cx="5879061" cy="1692771"/>
          </a:xfrm>
          <a:prstGeom prst="rect">
            <a:avLst/>
          </a:prstGeom>
          <a:noFill/>
        </p:spPr>
        <p:txBody>
          <a:bodyPr wrap="square" rtlCol="0">
            <a:spAutoFit/>
          </a:bodyPr>
          <a:lstStyle/>
          <a:p>
            <a:pPr marL="285750" lvl="1" indent="-285750" algn="just" eaLnBrk="0" hangingPunct="0">
              <a:spcBef>
                <a:spcPct val="10000"/>
              </a:spcBef>
              <a:buClr>
                <a:srgbClr val="000000"/>
              </a:buClr>
              <a:buSzPct val="100000"/>
              <a:buFont typeface="Arial" panose="020B0604020202020204" pitchFamily="34" charset="0"/>
              <a:buChar char="•"/>
            </a:pPr>
            <a:r>
              <a:rPr lang="en-US" sz="1000" dirty="0">
                <a:latin typeface="+mj-lt"/>
                <a:ea typeface="Tahoma" panose="020B0604030504040204" pitchFamily="34" charset="0"/>
                <a:cs typeface="Times New Roman" panose="02020603050405020304" pitchFamily="18" charset="0"/>
              </a:rPr>
              <a:t>Created 2 microservices using Spring Web Reactive framework , a Order service and a Notification service. </a:t>
            </a:r>
            <a:r>
              <a:rPr lang="en-GB" sz="1000" dirty="0">
                <a:latin typeface="Arial" panose="020B0604020202020204" pitchFamily="34" charset="0"/>
                <a:cs typeface="Arial" panose="020B0604020202020204" pitchFamily="34" charset="0"/>
              </a:rPr>
              <a:t>Model supports Backpressure.</a:t>
            </a:r>
            <a:endParaRPr lang="en-US" sz="1000" dirty="0">
              <a:latin typeface="+mj-lt"/>
              <a:ea typeface="Tahoma" panose="020B0604030504040204" pitchFamily="34" charset="0"/>
              <a:cs typeface="Times New Roman" panose="02020603050405020304" pitchFamily="18" charset="0"/>
            </a:endParaRPr>
          </a:p>
          <a:p>
            <a:pPr marL="285750" lvl="1" indent="-285750" algn="just" eaLnBrk="0" hangingPunct="0">
              <a:spcBef>
                <a:spcPct val="10000"/>
              </a:spcBef>
              <a:buClr>
                <a:srgbClr val="000000"/>
              </a:buClr>
              <a:buSzPct val="100000"/>
              <a:buFont typeface="Arial" panose="020B0604020202020204" pitchFamily="34" charset="0"/>
              <a:buChar char="•"/>
            </a:pPr>
            <a:endParaRPr lang="en-US" sz="1000" dirty="0">
              <a:latin typeface="+mj-lt"/>
              <a:ea typeface="Tahoma" panose="020B0604030504040204" pitchFamily="34" charset="0"/>
              <a:cs typeface="Times New Roman" panose="02020603050405020304" pitchFamily="18" charset="0"/>
            </a:endParaRPr>
          </a:p>
          <a:p>
            <a:pPr marL="285750" lvl="1" indent="-285750" algn="just" eaLnBrk="0" hangingPunct="0">
              <a:spcBef>
                <a:spcPct val="10000"/>
              </a:spcBef>
              <a:buClr>
                <a:srgbClr val="000000"/>
              </a:buClr>
              <a:buSzPct val="100000"/>
              <a:buFont typeface="Arial" panose="020B0604020202020204" pitchFamily="34" charset="0"/>
              <a:buChar char="•"/>
            </a:pPr>
            <a:r>
              <a:rPr lang="en-US" sz="1000" b="1" dirty="0">
                <a:latin typeface="+mj-lt"/>
                <a:cs typeface="Times New Roman" panose="02020603050405020304" pitchFamily="18" charset="0"/>
              </a:rPr>
              <a:t>Order microservice </a:t>
            </a:r>
            <a:r>
              <a:rPr lang="en-US" sz="1000" dirty="0">
                <a:latin typeface="+mj-lt"/>
                <a:cs typeface="Times New Roman" panose="02020603050405020304" pitchFamily="18" charset="0"/>
              </a:rPr>
              <a:t>produces the order event to Kafka Order Topic &amp; saves the order json to MongoDB.</a:t>
            </a:r>
          </a:p>
          <a:p>
            <a:pPr marL="285750" lvl="1" indent="-285750" algn="just" eaLnBrk="0" hangingPunct="0">
              <a:spcBef>
                <a:spcPct val="10000"/>
              </a:spcBef>
              <a:buClr>
                <a:srgbClr val="000000"/>
              </a:buClr>
              <a:buSzPct val="100000"/>
              <a:buFont typeface="Arial" panose="020B0604020202020204" pitchFamily="34" charset="0"/>
              <a:buChar char="•"/>
            </a:pPr>
            <a:endParaRPr lang="en-US" sz="1000" dirty="0">
              <a:latin typeface="+mj-lt"/>
              <a:ea typeface="Tahoma" panose="020B0604030504040204" pitchFamily="34" charset="0"/>
              <a:cs typeface="Times New Roman" panose="02020603050405020304" pitchFamily="18" charset="0"/>
            </a:endParaRPr>
          </a:p>
          <a:p>
            <a:pPr marL="285750" lvl="1" indent="-285750" algn="just" eaLnBrk="0" hangingPunct="0">
              <a:spcBef>
                <a:spcPct val="10000"/>
              </a:spcBef>
              <a:buClr>
                <a:srgbClr val="000000"/>
              </a:buClr>
              <a:buSzPct val="100000"/>
              <a:buFont typeface="Arial" panose="020B0604020202020204" pitchFamily="34" charset="0"/>
              <a:buChar char="•"/>
            </a:pPr>
            <a:r>
              <a:rPr lang="en-US" sz="1000" b="1" dirty="0">
                <a:latin typeface="+mj-lt"/>
                <a:ea typeface="Tahoma" panose="020B0604030504040204" pitchFamily="34" charset="0"/>
                <a:cs typeface="Times New Roman" panose="02020603050405020304" pitchFamily="18" charset="0"/>
              </a:rPr>
              <a:t>Notification Microservice </a:t>
            </a:r>
            <a:r>
              <a:rPr lang="en-US" sz="1000" dirty="0">
                <a:latin typeface="+mj-lt"/>
                <a:ea typeface="Tahoma" panose="020B0604030504040204" pitchFamily="34" charset="0"/>
                <a:cs typeface="Times New Roman" panose="02020603050405020304" pitchFamily="18" charset="0"/>
              </a:rPr>
              <a:t>subscribes to Order Event and consumes the Order json from the Kafka “order” topic and as soon as new order message arrives in the topic, it sends the SMS notification to the customer via Twilio</a:t>
            </a:r>
          </a:p>
          <a:p>
            <a:endParaRPr lang="en-US" sz="1000" dirty="0"/>
          </a:p>
        </p:txBody>
      </p:sp>
      <p:pic>
        <p:nvPicPr>
          <p:cNvPr id="1026" name="Picture 2" descr="image">
            <a:extLst>
              <a:ext uri="{FF2B5EF4-FFF2-40B4-BE49-F238E27FC236}">
                <a16:creationId xmlns:a16="http://schemas.microsoft.com/office/drawing/2014/main" id="{947AD938-242A-DC22-BA37-FB704EEA5A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0992"/>
          <a:stretch/>
        </p:blipFill>
        <p:spPr bwMode="auto">
          <a:xfrm>
            <a:off x="967618" y="5309579"/>
            <a:ext cx="3404129" cy="1328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14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F129BA-7875-BB45-9343-E6ACBBF67E22}"/>
              </a:ext>
            </a:extLst>
          </p:cNvPr>
          <p:cNvSpPr>
            <a:spLocks noGrp="1"/>
          </p:cNvSpPr>
          <p:nvPr>
            <p:ph type="sldNum" sz="quarter" idx="10"/>
          </p:nvPr>
        </p:nvSpPr>
        <p:spPr/>
        <p:txBody>
          <a:bodyPr/>
          <a:lstStyle/>
          <a:p>
            <a:pPr>
              <a:defRPr/>
            </a:pPr>
            <a:fld id="{90CBDC3A-D49F-4631-A8C7-55D59B33E5FA}" type="slidenum">
              <a:rPr lang="en-US" smtClean="0"/>
              <a:pPr>
                <a:defRPr/>
              </a:pPr>
              <a:t>2</a:t>
            </a:fld>
            <a:endParaRPr lang="en-US" dirty="0"/>
          </a:p>
        </p:txBody>
      </p:sp>
      <p:sp>
        <p:nvSpPr>
          <p:cNvPr id="3" name="Footer Placeholder 2">
            <a:extLst>
              <a:ext uri="{FF2B5EF4-FFF2-40B4-BE49-F238E27FC236}">
                <a16:creationId xmlns:a16="http://schemas.microsoft.com/office/drawing/2014/main" id="{5F736EB8-B711-BF2C-1049-E8C61C8DEBA0}"/>
              </a:ext>
            </a:extLst>
          </p:cNvPr>
          <p:cNvSpPr>
            <a:spLocks noGrp="1"/>
          </p:cNvSpPr>
          <p:nvPr>
            <p:ph type="ftr" sz="quarter" idx="11"/>
          </p:nvPr>
        </p:nvSpPr>
        <p:spPr/>
        <p:txBody>
          <a:bodyPr/>
          <a:lstStyle/>
          <a:p>
            <a:r>
              <a:rPr lang="en-AU"/>
              <a:t>Copyright © 2014 Accenture  All rights reserved.</a:t>
            </a:r>
            <a:endParaRPr lang="en-AU" dirty="0"/>
          </a:p>
        </p:txBody>
      </p:sp>
      <p:sp>
        <p:nvSpPr>
          <p:cNvPr id="4" name="Text Box 4">
            <a:extLst>
              <a:ext uri="{FF2B5EF4-FFF2-40B4-BE49-F238E27FC236}">
                <a16:creationId xmlns:a16="http://schemas.microsoft.com/office/drawing/2014/main" id="{F07FCB7D-8A32-2999-1544-D55951BE7C11}"/>
              </a:ext>
            </a:extLst>
          </p:cNvPr>
          <p:cNvSpPr txBox="1">
            <a:spLocks noChangeArrowheads="1"/>
          </p:cNvSpPr>
          <p:nvPr/>
        </p:nvSpPr>
        <p:spPr bwMode="auto">
          <a:xfrm>
            <a:off x="1639614" y="973156"/>
            <a:ext cx="8912772" cy="4118697"/>
          </a:xfrm>
          <a:prstGeom prst="rect">
            <a:avLst/>
          </a:prstGeom>
          <a:noFill/>
          <a:ln w="12700" algn="ctr">
            <a:solidFill>
              <a:schemeClr val="tx1"/>
            </a:solidFill>
            <a:miter lim="800000"/>
            <a:headEnd/>
            <a:tailEnd/>
          </a:ln>
        </p:spPr>
        <p:txBody>
          <a:bodyPr lIns="72000" tIns="144000" rIns="72000" bIns="36000" anchor="t"/>
          <a:lstStyle/>
          <a:p>
            <a:r>
              <a:rPr lang="en-GB" sz="1100" dirty="0">
                <a:latin typeface="Arial" panose="020B0604020202020204" pitchFamily="34" charset="0"/>
                <a:cs typeface="Arial" panose="020B0604020202020204" pitchFamily="34" charset="0"/>
              </a:rPr>
              <a:t> </a:t>
            </a:r>
          </a:p>
          <a:p>
            <a:r>
              <a:rPr lang="en-GB" sz="1600" b="1" dirty="0">
                <a:latin typeface="Arial" panose="020B0604020202020204" pitchFamily="34" charset="0"/>
                <a:cs typeface="Arial" panose="020B0604020202020204" pitchFamily="34" charset="0"/>
              </a:rPr>
              <a:t>MENTORS </a:t>
            </a:r>
          </a:p>
          <a:p>
            <a:endParaRPr lang="en-GB"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600" dirty="0">
                <a:latin typeface="Arial" panose="020B0604020202020204" pitchFamily="34" charset="0"/>
                <a:cs typeface="Arial" panose="020B0604020202020204" pitchFamily="34" charset="0"/>
              </a:rPr>
              <a:t>TECH POCs: Rohit Khattar, Vandana Lalit, Ram Prakash Singh</a:t>
            </a:r>
          </a:p>
          <a:p>
            <a:endParaRPr lang="en-GB"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600" dirty="0">
                <a:latin typeface="Arial" panose="020B0604020202020204" pitchFamily="34" charset="0"/>
                <a:cs typeface="Arial" panose="020B0604020202020204" pitchFamily="34" charset="0"/>
              </a:rPr>
              <a:t>PM: Shilpa Gupta</a:t>
            </a:r>
          </a:p>
          <a:p>
            <a:pPr marL="171450" indent="-171450">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r>
              <a:rPr lang="en-GB" sz="1600" b="1" dirty="0">
                <a:latin typeface="Arial" panose="020B0604020202020204" pitchFamily="34" charset="0"/>
                <a:cs typeface="Arial" panose="020B0604020202020204" pitchFamily="34" charset="0"/>
              </a:rPr>
              <a:t>ASE TEAM</a:t>
            </a:r>
          </a:p>
          <a:p>
            <a:endParaRPr lang="en-GB"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600" dirty="0">
                <a:latin typeface="Arial" panose="020B0604020202020204" pitchFamily="34" charset="0"/>
                <a:cs typeface="Arial" panose="020B0604020202020204" pitchFamily="34" charset="0"/>
              </a:rPr>
              <a:t>ASE: </a:t>
            </a:r>
            <a:r>
              <a:rPr lang="en-US" sz="1600" dirty="0">
                <a:latin typeface="Arial" panose="020B0604020202020204" pitchFamily="34" charset="0"/>
                <a:cs typeface="Arial" panose="020B0604020202020204" pitchFamily="34" charset="0"/>
              </a:rPr>
              <a:t>Prasanna Kumar Barla </a:t>
            </a:r>
          </a:p>
          <a:p>
            <a:pPr marL="171450"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dirty="0">
                <a:latin typeface="Arial" panose="020B0604020202020204" pitchFamily="34" charset="0"/>
                <a:cs typeface="Arial" panose="020B0604020202020204" pitchFamily="34" charset="0"/>
              </a:rPr>
              <a:t>ASE: </a:t>
            </a:r>
            <a:r>
              <a:rPr lang="en-US" sz="1600" dirty="0"/>
              <a:t>Amrutha Vani Bhumi Reddy </a:t>
            </a:r>
          </a:p>
          <a:p>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dirty="0">
                <a:latin typeface="Arial" panose="020B0604020202020204" pitchFamily="34" charset="0"/>
                <a:cs typeface="Arial" panose="020B0604020202020204" pitchFamily="34" charset="0"/>
              </a:rPr>
              <a:t>ASE: </a:t>
            </a:r>
            <a:r>
              <a:rPr lang="en-US" sz="1600" dirty="0"/>
              <a:t>Shivadhar Reddy Challamalla</a:t>
            </a:r>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dirty="0">
                <a:latin typeface="Arial" panose="020B0604020202020204" pitchFamily="34" charset="0"/>
                <a:cs typeface="Arial" panose="020B0604020202020204" pitchFamily="34" charset="0"/>
              </a:rPr>
              <a:t>ASE: </a:t>
            </a:r>
            <a:r>
              <a:rPr lang="en-US" sz="1600" dirty="0"/>
              <a:t>Padma Venkatramaiah</a:t>
            </a:r>
          </a:p>
          <a:p>
            <a:pPr marL="171450" indent="-1714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GB" sz="11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03E9FD9-DB73-FF77-887B-5B5E4BF676A6}"/>
              </a:ext>
            </a:extLst>
          </p:cNvPr>
          <p:cNvSpPr txBox="1"/>
          <p:nvPr/>
        </p:nvSpPr>
        <p:spPr>
          <a:xfrm>
            <a:off x="5442856" y="868808"/>
            <a:ext cx="5410951" cy="226985"/>
          </a:xfrm>
          <a:prstGeom prst="rect">
            <a:avLst/>
          </a:prstGeom>
          <a:solidFill>
            <a:schemeClr val="bg1"/>
          </a:solidFill>
          <a:ln>
            <a:noFill/>
          </a:ln>
        </p:spPr>
        <p:txBody>
          <a:bodyPr wrap="square" lIns="0" tIns="0" rIns="0" bIns="0" rtlCol="0">
            <a:spAutoFit/>
          </a:bodyPr>
          <a:lstStyle/>
          <a:p>
            <a:pPr marL="185738" indent="-185738" eaLnBrk="0" hangingPunct="0">
              <a:lnSpc>
                <a:spcPct val="80000"/>
              </a:lnSpc>
              <a:spcBef>
                <a:spcPct val="10000"/>
              </a:spcBef>
              <a:spcAft>
                <a:spcPct val="10000"/>
              </a:spcAft>
              <a:buClr>
                <a:srgbClr val="000000"/>
              </a:buClr>
            </a:pPr>
            <a:r>
              <a:rPr lang="en-US" b="1" dirty="0">
                <a:solidFill>
                  <a:srgbClr val="00FF00"/>
                </a:solidFill>
                <a:latin typeface="Arial Black" panose="020B0A04020102020204" pitchFamily="34" charset="0"/>
                <a:cs typeface="Arial" panose="020B0604020202020204" pitchFamily="34" charset="0"/>
              </a:rPr>
              <a:t> Mentor and Hot House Team members</a:t>
            </a:r>
          </a:p>
        </p:txBody>
      </p:sp>
    </p:spTree>
    <p:extLst>
      <p:ext uri="{BB962C8B-B14F-4D97-AF65-F5344CB8AC3E}">
        <p14:creationId xmlns:p14="http://schemas.microsoft.com/office/powerpoint/2010/main" val="2864126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FoTCczY06nfjwQOv2d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FoTCczY06nfjwQOv2d_w"/>
</p:tagLst>
</file>

<file path=ppt/theme/theme1.xml><?xml version="1.0" encoding="utf-8"?>
<a:theme xmlns:a="http://schemas.openxmlformats.org/drawingml/2006/main" name="14-3384 Innovation Council Framework PPT Template">
  <a:themeElements>
    <a:clrScheme name="Accenture">
      <a:dk1>
        <a:srgbClr val="000000"/>
      </a:dk1>
      <a:lt1>
        <a:srgbClr val="FFFFFF"/>
      </a:lt1>
      <a:dk2>
        <a:srgbClr val="666666"/>
      </a:dk2>
      <a:lt2>
        <a:srgbClr val="778888"/>
      </a:lt2>
      <a:accent1>
        <a:srgbClr val="DD4411"/>
      </a:accent1>
      <a:accent2>
        <a:srgbClr val="993399"/>
      </a:accent2>
      <a:accent3>
        <a:srgbClr val="359B4C"/>
      </a:accent3>
      <a:accent4>
        <a:srgbClr val="AADDEE"/>
      </a:accent4>
      <a:accent5>
        <a:srgbClr val="DD4411"/>
      </a:accent5>
      <a:accent6>
        <a:srgbClr val="993399"/>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01F40FDCCD849A3F148870198B9F9" ma:contentTypeVersion="4" ma:contentTypeDescription="Create a new document." ma:contentTypeScope="" ma:versionID="1ed262363f757d7477eed3223ce8b5a8">
  <xsd:schema xmlns:xsd="http://www.w3.org/2001/XMLSchema" xmlns:xs="http://www.w3.org/2001/XMLSchema" xmlns:p="http://schemas.microsoft.com/office/2006/metadata/properties" xmlns:ns2="8832ba3b-6334-45ce-baed-8b5a927d8d8e" xmlns:ns3="a7252d17-66d4-45ac-8e0c-8d77fd6eee79" targetNamespace="http://schemas.microsoft.com/office/2006/metadata/properties" ma:root="true" ma:fieldsID="ddb1d0f614f509a7db0825ddca0f6542" ns2:_="" ns3:_="">
    <xsd:import namespace="8832ba3b-6334-45ce-baed-8b5a927d8d8e"/>
    <xsd:import namespace="a7252d17-66d4-45ac-8e0c-8d77fd6eee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32ba3b-6334-45ce-baed-8b5a927d8d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7252d17-66d4-45ac-8e0c-8d77fd6eee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F8FF39-A5D2-4C20-89CA-E0BB61C09927}">
  <ds:schemaRefs>
    <ds:schemaRef ds:uri="http://purl.org/dc/terms/"/>
    <ds:schemaRef ds:uri="http://purl.org/dc/dcmitype/"/>
    <ds:schemaRef ds:uri="http://schemas.microsoft.com/office/2006/documentManagement/types"/>
    <ds:schemaRef ds:uri="http://schemas.microsoft.com/office/2006/metadata/properties"/>
    <ds:schemaRef ds:uri="a7252d17-66d4-45ac-8e0c-8d77fd6eee79"/>
    <ds:schemaRef ds:uri="http://www.w3.org/XML/1998/namespace"/>
    <ds:schemaRef ds:uri="http://purl.org/dc/elements/1.1/"/>
    <ds:schemaRef ds:uri="http://schemas.microsoft.com/office/infopath/2007/PartnerControls"/>
    <ds:schemaRef ds:uri="http://schemas.openxmlformats.org/package/2006/metadata/core-properties"/>
    <ds:schemaRef ds:uri="8832ba3b-6334-45ce-baed-8b5a927d8d8e"/>
  </ds:schemaRefs>
</ds:datastoreItem>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1BCA5FF0-581F-431D-8380-3FB6460516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32ba3b-6334-45ce-baed-8b5a927d8d8e"/>
    <ds:schemaRef ds:uri="a7252d17-66d4-45ac-8e0c-8d77fd6eee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Top_WHT_2</Template>
  <TotalTime>25805</TotalTime>
  <Words>321</Words>
  <Application>Microsoft Macintosh PowerPoint</Application>
  <PresentationFormat>Widescreen</PresentationFormat>
  <Paragraphs>49</Paragraphs>
  <Slides>2</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vt:i4>
      </vt:variant>
    </vt:vector>
  </HeadingPairs>
  <TitlesOfParts>
    <vt:vector size="7" baseType="lpstr">
      <vt:lpstr>Arial</vt:lpstr>
      <vt:lpstr>Times New Roman</vt:lpstr>
      <vt:lpstr>Arial Black</vt:lpstr>
      <vt:lpstr>Wingdings</vt:lpstr>
      <vt:lpstr>14-3384 Innovation Council Framework PPT Template</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on Council</dc:title>
  <dc:creator>Rajiv Khanna</dc:creator>
  <cp:lastModifiedBy>Khattar, Rohit</cp:lastModifiedBy>
  <cp:revision>1113</cp:revision>
  <cp:lastPrinted>2009-05-13T12:37:25Z</cp:lastPrinted>
  <dcterms:created xsi:type="dcterms:W3CDTF">2012-01-18T22:44:04Z</dcterms:created>
  <dcterms:modified xsi:type="dcterms:W3CDTF">2023-04-26T15:3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01F40FDCCD849A3F148870198B9F9</vt:lpwstr>
  </property>
  <property fmtid="{D5CDD505-2E9C-101B-9397-08002B2CF9AE}" pid="3" name="UserName">
    <vt:lpwstr>samantha.bailey</vt:lpwstr>
  </property>
  <property fmtid="{D5CDD505-2E9C-101B-9397-08002B2CF9AE}" pid="4" name="ComputerName">
    <vt:lpwstr>MW7BCI5QM2O42D</vt:lpwstr>
  </property>
  <property fmtid="{D5CDD505-2E9C-101B-9397-08002B2CF9AE}" pid="5" name="palette_size">
    <vt:lpwstr>4</vt:lpwstr>
  </property>
  <property fmtid="{D5CDD505-2E9C-101B-9397-08002B2CF9AE}" pid="6" name="GUIDE_C1L">
    <vt:lpwstr>35.87504</vt:lpwstr>
  </property>
  <property fmtid="{D5CDD505-2E9C-101B-9397-08002B2CF9AE}" pid="7" name="GUIDE_C1R">
    <vt:lpwstr>246.3307</vt:lpwstr>
  </property>
  <property fmtid="{D5CDD505-2E9C-101B-9397-08002B2CF9AE}" pid="8" name="GUIDE_C2L">
    <vt:lpwstr>254.8346</vt:lpwstr>
  </property>
  <property fmtid="{D5CDD505-2E9C-101B-9397-08002B2CF9AE}" pid="9" name="GUIDE_ML">
    <vt:lpwstr>355.748</vt:lpwstr>
  </property>
  <property fmtid="{D5CDD505-2E9C-101B-9397-08002B2CF9AE}" pid="10" name="GUIDE_MR">
    <vt:lpwstr>364.252</vt:lpwstr>
  </property>
  <property fmtid="{D5CDD505-2E9C-101B-9397-08002B2CF9AE}" pid="11" name="GUIDE_C2R">
    <vt:lpwstr>465.125</vt:lpwstr>
  </property>
  <property fmtid="{D5CDD505-2E9C-101B-9397-08002B2CF9AE}" pid="12" name="GUIDE_C3L">
    <vt:lpwstr>473.75</vt:lpwstr>
  </property>
  <property fmtid="{D5CDD505-2E9C-101B-9397-08002B2CF9AE}" pid="13" name="GUIDE_C3R">
    <vt:lpwstr>684.1251</vt:lpwstr>
  </property>
  <property fmtid="{D5CDD505-2E9C-101B-9397-08002B2CF9AE}" pid="14" name="GUIDE_GTL_R">
    <vt:lpwstr>688</vt:lpwstr>
  </property>
  <property fmtid="{D5CDD505-2E9C-101B-9397-08002B2CF9AE}" pid="15" name="GUIDE_R1">
    <vt:lpwstr>30.62504</vt:lpwstr>
  </property>
  <property fmtid="{D5CDD505-2E9C-101B-9397-08002B2CF9AE}" pid="16" name="GUIDE_R2">
    <vt:lpwstr>83.12504</vt:lpwstr>
  </property>
  <property fmtid="{D5CDD505-2E9C-101B-9397-08002B2CF9AE}" pid="17" name="GUIDE_R3">
    <vt:lpwstr>100.6645</vt:lpwstr>
  </property>
  <property fmtid="{D5CDD505-2E9C-101B-9397-08002B2CF9AE}" pid="18" name="GUIDE_R4">
    <vt:lpwstr>511.25</vt:lpwstr>
  </property>
</Properties>
</file>